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1"/>
  </p:notesMasterIdLst>
  <p:handoutMasterIdLst>
    <p:handoutMasterId r:id="rId22"/>
  </p:handoutMasterIdLst>
  <p:sldIdLst>
    <p:sldId id="282" r:id="rId2"/>
    <p:sldId id="258" r:id="rId3"/>
    <p:sldId id="264" r:id="rId4"/>
    <p:sldId id="265" r:id="rId5"/>
    <p:sldId id="290" r:id="rId6"/>
    <p:sldId id="267" r:id="rId7"/>
    <p:sldId id="295" r:id="rId8"/>
    <p:sldId id="292" r:id="rId9"/>
    <p:sldId id="294" r:id="rId10"/>
    <p:sldId id="270" r:id="rId11"/>
    <p:sldId id="283" r:id="rId12"/>
    <p:sldId id="273" r:id="rId13"/>
    <p:sldId id="276" r:id="rId14"/>
    <p:sldId id="284" r:id="rId15"/>
    <p:sldId id="285" r:id="rId16"/>
    <p:sldId id="286" r:id="rId17"/>
    <p:sldId id="289" r:id="rId18"/>
    <p:sldId id="288" r:id="rId19"/>
    <p:sldId id="287" r:id="rId20"/>
  </p:sldIdLst>
  <p:sldSz cx="9906000" cy="6858000" type="A4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AEAEA"/>
    <a:srgbClr val="DEDEDE"/>
    <a:srgbClr val="009DD9"/>
    <a:srgbClr val="FFFFFF"/>
    <a:srgbClr val="266EA6"/>
    <a:srgbClr val="DADADA"/>
    <a:srgbClr val="A2CFEE"/>
    <a:srgbClr val="53A4DC"/>
    <a:srgbClr val="FDFD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27102A9-8310-4765-A935-A1911B00CA55}" styleName="Светлый стиль 1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D083AE6-46FA-4A59-8FB0-9F97EB10719F}" styleName="Светлый стиль 3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794" autoAdjust="0"/>
    <p:restoredTop sz="94660"/>
  </p:normalViewPr>
  <p:slideViewPr>
    <p:cSldViewPr snapToGrid="0">
      <p:cViewPr varScale="1">
        <p:scale>
          <a:sx n="67" d="100"/>
          <a:sy n="67" d="100"/>
        </p:scale>
        <p:origin x="832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1" d="100"/>
          <a:sy n="51" d="100"/>
        </p:scale>
        <p:origin x="2624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lizabeth\Documents\Documents\&#1059;&#1085;&#1080;&#1074;&#1077;&#1088;\&#1050;&#1077;&#1081;&#1089;-&#1095;&#1077;&#1084;&#1087;&#1080;&#1086;&#1085;&#1072;&#1090;&#1099;\&#1052;&#1077;&#1085;&#1077;&#1076;&#1078;&#1084;&#1077;&#1085;&#1090;%20&#1073;&#1091;&#1076;&#1091;&#1097;&#1077;&#1075;&#1086;\&#1050;&#1077;&#1081;&#1089;\&#1056;&#1099;&#1085;&#1086;&#1082;%20VA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31415141194917"/>
          <c:y val="1.6547247820158834E-2"/>
          <c:w val="0.74517668738006659"/>
          <c:h val="0.9247640175165349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% опрошенных</c:v>
                </c:pt>
              </c:strCache>
            </c:strRef>
          </c:tx>
          <c:spPr>
            <a:ln>
              <a:noFill/>
            </a:ln>
          </c:spPr>
          <c:invertIfNegative val="0"/>
          <c:cat>
            <c:strRef>
              <c:f>Лист1!$A$2:$A$7</c:f>
              <c:strCache>
                <c:ptCount val="6"/>
                <c:pt idx="0">
                  <c:v>25%+</c:v>
                </c:pt>
                <c:pt idx="1">
                  <c:v>21-25%</c:v>
                </c:pt>
                <c:pt idx="2">
                  <c:v>16-20%</c:v>
                </c:pt>
                <c:pt idx="3">
                  <c:v>11-15%</c:v>
                </c:pt>
                <c:pt idx="4">
                  <c:v>6-10%</c:v>
                </c:pt>
                <c:pt idx="5">
                  <c:v>0-5%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0.24</c:v>
                </c:pt>
                <c:pt idx="1">
                  <c:v>0.12</c:v>
                </c:pt>
                <c:pt idx="2">
                  <c:v>0.12</c:v>
                </c:pt>
                <c:pt idx="3">
                  <c:v>0.16</c:v>
                </c:pt>
                <c:pt idx="4">
                  <c:v>0.15</c:v>
                </c:pt>
                <c:pt idx="5">
                  <c:v>0.2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25"/>
        <c:axId val="322541832"/>
        <c:axId val="322542224"/>
      </c:barChart>
      <c:catAx>
        <c:axId val="322541832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pPr>
            <a:endParaRPr lang="en-US"/>
          </a:p>
        </c:txPr>
        <c:crossAx val="322542224"/>
        <c:crosses val="autoZero"/>
        <c:auto val="1"/>
        <c:lblAlgn val="ctr"/>
        <c:lblOffset val="100"/>
        <c:noMultiLvlLbl val="0"/>
      </c:catAx>
      <c:valAx>
        <c:axId val="322542224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322541832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61821384387795797"/>
          <c:y val="0.40396830456992605"/>
          <c:w val="0.33749427689199496"/>
          <c:h val="0.14846508733585476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Выручка мобильного оператора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cat>
            <c:strRef>
              <c:f>Лист1!$A$2:$A$3</c:f>
              <c:strCache>
                <c:ptCount val="1"/>
                <c:pt idx="0">
                  <c:v>Цифровые услуги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0</c:v>
                </c:pt>
                <c:pt idx="1">
                  <c:v>8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833333333333332E-2"/>
          <c:y val="2.2998564628288184E-2"/>
          <c:w val="0.97916666666666663"/>
          <c:h val="0.96483286009911806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A$36:$A$39</c:f>
              <c:numCache>
                <c:formatCode>General</c:formatCode>
                <c:ptCount val="4"/>
                <c:pt idx="0">
                  <c:v>9.6999999999999993</c:v>
                </c:pt>
                <c:pt idx="1">
                  <c:v>14.5</c:v>
                </c:pt>
                <c:pt idx="2">
                  <c:v>22.3</c:v>
                </c:pt>
                <c:pt idx="3">
                  <c:v>52.6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320205632"/>
        <c:axId val="320207200"/>
      </c:barChart>
      <c:catAx>
        <c:axId val="320205632"/>
        <c:scaling>
          <c:orientation val="minMax"/>
        </c:scaling>
        <c:delete val="1"/>
        <c:axPos val="l"/>
        <c:majorTickMark val="none"/>
        <c:minorTickMark val="none"/>
        <c:tickLblPos val="nextTo"/>
        <c:crossAx val="320207200"/>
        <c:crosses val="autoZero"/>
        <c:auto val="1"/>
        <c:lblAlgn val="ctr"/>
        <c:lblOffset val="100"/>
        <c:noMultiLvlLbl val="0"/>
      </c:catAx>
      <c:valAx>
        <c:axId val="32020720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202056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sz="16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Стоимость федеральной корзины </a:t>
            </a:r>
            <a:r>
              <a:rPr lang="ru-RU" dirty="0" smtClean="0"/>
              <a:t>«Универсал», </a:t>
            </a:r>
            <a:r>
              <a:rPr lang="ru-RU" dirty="0"/>
              <a:t>руб.</a:t>
            </a:r>
          </a:p>
          <a:p>
            <a:pPr algn="ctr" rtl="0">
              <a:defRPr/>
            </a:pPr>
            <a:endParaRPr lang="ru-RU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sz="16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6489733173812637"/>
          <c:y val="0.16980576525785337"/>
          <c:w val="0.81890714411581944"/>
          <c:h val="0.778323548326251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МТС</c:v>
                </c:pt>
                <c:pt idx="1">
                  <c:v>Билайн</c:v>
                </c:pt>
                <c:pt idx="2">
                  <c:v>Мегафон</c:v>
                </c:pt>
                <c:pt idx="3">
                  <c:v>Теле 2</c:v>
                </c:pt>
                <c:pt idx="4">
                  <c:v>В среднем в РФ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015.7</c:v>
                </c:pt>
                <c:pt idx="1">
                  <c:v>1002.6</c:v>
                </c:pt>
                <c:pt idx="2">
                  <c:v>650</c:v>
                </c:pt>
                <c:pt idx="3">
                  <c:v>480.4</c:v>
                </c:pt>
                <c:pt idx="4">
                  <c:v>85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МТС</c:v>
                </c:pt>
                <c:pt idx="1">
                  <c:v>Билайн</c:v>
                </c:pt>
                <c:pt idx="2">
                  <c:v>Мегафон</c:v>
                </c:pt>
                <c:pt idx="3">
                  <c:v>Теле 2</c:v>
                </c:pt>
                <c:pt idx="4">
                  <c:v>В среднем в РФ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МТС</c:v>
                </c:pt>
                <c:pt idx="1">
                  <c:v>Билайн</c:v>
                </c:pt>
                <c:pt idx="2">
                  <c:v>Мегафон</c:v>
                </c:pt>
                <c:pt idx="3">
                  <c:v>Теле 2</c:v>
                </c:pt>
                <c:pt idx="4">
                  <c:v>В среднем в РФ</c:v>
                </c:pt>
              </c:strCache>
            </c:strRef>
          </c:cat>
          <c:val>
            <c:numRef>
              <c:f>Лист1!$D$2:$D$6</c:f>
              <c:numCache>
                <c:formatCode>General</c:formatCode>
                <c:ptCount val="5"/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386044688"/>
        <c:axId val="386051352"/>
      </c:barChart>
      <c:catAx>
        <c:axId val="3860446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6051352"/>
        <c:crosses val="autoZero"/>
        <c:auto val="1"/>
        <c:lblAlgn val="ctr"/>
        <c:lblOffset val="100"/>
        <c:noMultiLvlLbl val="0"/>
      </c:catAx>
      <c:valAx>
        <c:axId val="38605135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860446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Стоимость федеральной корзины </a:t>
            </a:r>
            <a:r>
              <a:rPr lang="ru-RU" dirty="0" smtClean="0"/>
              <a:t>«Интернет</a:t>
            </a:r>
            <a:r>
              <a:rPr lang="ru-RU" baseline="0" dirty="0" smtClean="0"/>
              <a:t>»</a:t>
            </a:r>
            <a:r>
              <a:rPr lang="ru-RU" dirty="0" smtClean="0"/>
              <a:t>, </a:t>
            </a:r>
            <a:r>
              <a:rPr lang="ru-RU" dirty="0"/>
              <a:t>руб</a:t>
            </a:r>
            <a:r>
              <a:rPr lang="ru-RU" dirty="0" smtClean="0"/>
              <a:t>.</a:t>
            </a:r>
            <a:endParaRPr lang="ru-RU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6926281962104561"/>
          <c:y val="0.17988956536031137"/>
          <c:w val="0.83073718037895439"/>
          <c:h val="0.771257619045953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МТС</c:v>
                </c:pt>
                <c:pt idx="1">
                  <c:v>Билайн</c:v>
                </c:pt>
                <c:pt idx="2">
                  <c:v>Мегафон</c:v>
                </c:pt>
                <c:pt idx="3">
                  <c:v>Теле 2</c:v>
                </c:pt>
                <c:pt idx="4">
                  <c:v>В среднем по РФ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618.79999999999995</c:v>
                </c:pt>
                <c:pt idx="1">
                  <c:v>533.70000000000005</c:v>
                </c:pt>
                <c:pt idx="2">
                  <c:v>600</c:v>
                </c:pt>
                <c:pt idx="3">
                  <c:v>344</c:v>
                </c:pt>
                <c:pt idx="4">
                  <c:v>59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МТС</c:v>
                </c:pt>
                <c:pt idx="1">
                  <c:v>Билайн</c:v>
                </c:pt>
                <c:pt idx="2">
                  <c:v>Мегафон</c:v>
                </c:pt>
                <c:pt idx="3">
                  <c:v>Теле 2</c:v>
                </c:pt>
                <c:pt idx="4">
                  <c:v>В среднем по РФ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МТС</c:v>
                </c:pt>
                <c:pt idx="1">
                  <c:v>Билайн</c:v>
                </c:pt>
                <c:pt idx="2">
                  <c:v>Мегафон</c:v>
                </c:pt>
                <c:pt idx="3">
                  <c:v>Теле 2</c:v>
                </c:pt>
                <c:pt idx="4">
                  <c:v>В среднем по РФ</c:v>
                </c:pt>
              </c:strCache>
            </c:strRef>
          </c:cat>
          <c:val>
            <c:numRef>
              <c:f>Лист1!$D$2:$D$6</c:f>
              <c:numCache>
                <c:formatCode>General</c:formatCode>
                <c:ptCount val="5"/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386049784"/>
        <c:axId val="386045864"/>
      </c:barChart>
      <c:catAx>
        <c:axId val="38604978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6045864"/>
        <c:crosses val="autoZero"/>
        <c:auto val="1"/>
        <c:lblAlgn val="ctr"/>
        <c:lblOffset val="100"/>
        <c:noMultiLvlLbl val="0"/>
      </c:catAx>
      <c:valAx>
        <c:axId val="386045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86049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09B7B8-FAAF-4B7F-8FD0-76069A6E8DE8}" type="datetimeFigureOut">
              <a:rPr lang="en-US" smtClean="0"/>
              <a:t>4/6/2016</a:t>
            </a:fld>
            <a:endParaRPr lang="en-US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84DEEE-59E0-4FA0-8680-9C722B9D5AC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43477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270CEF-32E7-4354-B9B0-AE54E2A27C8C}" type="datetimeFigureOut">
              <a:rPr lang="en-US" smtClean="0"/>
              <a:t>4/6/2016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57D799-31C5-456B-A468-FA92631B56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07728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57D799-31C5-456B-A468-FA92631B56C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856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57D799-31C5-456B-A468-FA92631B56C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4207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57D799-31C5-456B-A468-FA92631B56C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3372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57D799-31C5-456B-A468-FA92631B56C3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0995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705099" y="3784599"/>
            <a:ext cx="6519863" cy="1325563"/>
          </a:xfrm>
          <a:solidFill>
            <a:srgbClr val="FFFFFF">
              <a:alpha val="80000"/>
            </a:srgbClr>
          </a:solidFill>
        </p:spPr>
        <p:txBody>
          <a:bodyPr anchor="ctr">
            <a:normAutofit/>
          </a:bodyPr>
          <a:lstStyle>
            <a:lvl1pPr algn="r"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705099" y="5202238"/>
            <a:ext cx="6519864" cy="1655762"/>
          </a:xfrm>
          <a:solidFill>
            <a:srgbClr val="FFFFFF">
              <a:alpha val="80000"/>
            </a:srgbClr>
          </a:solidFill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ru-RU" dirty="0" smtClean="0"/>
              <a:t>Образец подзаголовка</a:t>
            </a:r>
            <a:endParaRPr lang="en-US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9224963" y="0"/>
            <a:ext cx="68103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3728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"/>
            <a:ext cx="9906000" cy="1055802"/>
          </a:xfrm>
          <a:solidFill>
            <a:schemeClr val="tx2"/>
          </a:solidFill>
        </p:spPr>
        <p:txBody>
          <a:bodyPr>
            <a:normAutofit/>
          </a:bodyPr>
          <a:lstStyle>
            <a:lvl1pPr marL="108000">
              <a:lnSpc>
                <a:spcPct val="80000"/>
              </a:lnSpc>
              <a:defRPr sz="2800" b="0">
                <a:solidFill>
                  <a:srgbClr val="FDFDFD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4138" y="2008960"/>
            <a:ext cx="9729164" cy="4476681"/>
          </a:xfrm>
        </p:spPr>
        <p:txBody>
          <a:bodyPr/>
          <a:lstStyle>
            <a:lvl1pPr marL="185738" indent="-185738">
              <a:buFont typeface="Wingdings" panose="05000000000000000000" pitchFamily="2" charset="2"/>
              <a:buChar char="§"/>
              <a:defRPr/>
            </a:lvl1pPr>
            <a:lvl2pPr marL="557213" indent="-185738">
              <a:buFont typeface="Wingdings" panose="05000000000000000000" pitchFamily="2" charset="2"/>
              <a:buChar char="§"/>
              <a:defRPr/>
            </a:lvl2pPr>
            <a:lvl3pPr marL="928688" indent="-185738">
              <a:buFont typeface="Wingdings" panose="05000000000000000000" pitchFamily="2" charset="2"/>
              <a:buChar char="§"/>
              <a:defRPr/>
            </a:lvl3pPr>
            <a:lvl4pPr marL="1300163" indent="-185738">
              <a:buFont typeface="Wingdings" panose="05000000000000000000" pitchFamily="2" charset="2"/>
              <a:buChar char="§"/>
              <a:defRPr/>
            </a:lvl4pPr>
            <a:lvl5pPr marL="1671638" indent="-185738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7" name="Текст 10"/>
          <p:cNvSpPr>
            <a:spLocks noGrp="1"/>
          </p:cNvSpPr>
          <p:nvPr>
            <p:ph type="body" sz="quarter" idx="12"/>
          </p:nvPr>
        </p:nvSpPr>
        <p:spPr>
          <a:xfrm>
            <a:off x="84137" y="1178814"/>
            <a:ext cx="9729165" cy="707136"/>
          </a:xfrm>
          <a:solidFill>
            <a:srgbClr val="EAEAEA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608651"/>
            <a:ext cx="9906000" cy="249349"/>
          </a:xfrm>
          <a:solidFill>
            <a:schemeClr val="tx2"/>
          </a:solidFill>
        </p:spPr>
        <p:txBody>
          <a:bodyPr anchor="ctr">
            <a:noAutofit/>
          </a:bodyPr>
          <a:lstStyle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50" i="1">
                <a:solidFill>
                  <a:schemeClr val="bg1"/>
                </a:solidFill>
              </a:defRPr>
            </a:lvl2pPr>
          </a:lstStyle>
          <a:p>
            <a:pPr lvl="1"/>
            <a:r>
              <a:rPr lang="ru-RU" dirty="0" smtClean="0"/>
              <a:t>Источники:</a:t>
            </a:r>
            <a:endParaRPr lang="en-US" dirty="0"/>
          </a:p>
        </p:txBody>
      </p:sp>
      <p:sp>
        <p:nvSpPr>
          <p:cNvPr id="14" name="Номер слайда 13"/>
          <p:cNvSpPr>
            <a:spLocks noGrp="1"/>
          </p:cNvSpPr>
          <p:nvPr>
            <p:ph type="sldNum" sz="quarter" idx="16"/>
          </p:nvPr>
        </p:nvSpPr>
        <p:spPr>
          <a:xfrm>
            <a:off x="9445658" y="6608651"/>
            <a:ext cx="460342" cy="24935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74185DEA-EC0A-466A-86BE-ACF8F0BABD7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7669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4139" y="1993691"/>
            <a:ext cx="4806950" cy="4482059"/>
          </a:xfrm>
        </p:spPr>
        <p:txBody>
          <a:bodyPr/>
          <a:lstStyle>
            <a:lvl1pPr marL="185738" indent="-185738">
              <a:buFont typeface="Wingdings" panose="05000000000000000000" pitchFamily="2" charset="2"/>
              <a:buChar char="§"/>
              <a:defRPr/>
            </a:lvl1pPr>
            <a:lvl2pPr marL="557213" indent="-185738">
              <a:buFont typeface="Wingdings" panose="05000000000000000000" pitchFamily="2" charset="2"/>
              <a:buChar char="§"/>
              <a:defRPr/>
            </a:lvl2pPr>
            <a:lvl3pPr marL="928688" indent="-185738">
              <a:buFont typeface="Wingdings" panose="05000000000000000000" pitchFamily="2" charset="2"/>
              <a:buChar char="§"/>
              <a:defRPr/>
            </a:lvl3pPr>
            <a:lvl4pPr marL="1300163" indent="-185738">
              <a:buFont typeface="Wingdings" panose="05000000000000000000" pitchFamily="2" charset="2"/>
              <a:buChar char="§"/>
              <a:defRPr/>
            </a:lvl4pPr>
            <a:lvl5pPr marL="1671638" indent="-185738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15779" y="1993691"/>
            <a:ext cx="4806950" cy="4482060"/>
          </a:xfrm>
        </p:spPr>
        <p:txBody>
          <a:bodyPr/>
          <a:lstStyle>
            <a:lvl1pPr marL="185738" indent="-185738">
              <a:buFont typeface="Wingdings" panose="05000000000000000000" pitchFamily="2" charset="2"/>
              <a:buChar char="§"/>
              <a:defRPr/>
            </a:lvl1pPr>
            <a:lvl2pPr marL="557213" indent="-185738">
              <a:buFont typeface="Wingdings" panose="05000000000000000000" pitchFamily="2" charset="2"/>
              <a:buChar char="§"/>
              <a:defRPr/>
            </a:lvl2pPr>
            <a:lvl3pPr marL="928688" indent="-185738">
              <a:buFont typeface="Wingdings" panose="05000000000000000000" pitchFamily="2" charset="2"/>
              <a:buChar char="§"/>
              <a:defRPr/>
            </a:lvl3pPr>
            <a:lvl4pPr marL="1300163" indent="-185738">
              <a:buFont typeface="Wingdings" panose="05000000000000000000" pitchFamily="2" charset="2"/>
              <a:buChar char="§"/>
              <a:defRPr/>
            </a:lvl4pPr>
            <a:lvl5pPr marL="1671638" indent="-185738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2"/>
          </p:nvPr>
        </p:nvSpPr>
        <p:spPr>
          <a:xfrm>
            <a:off x="452487" y="1178814"/>
            <a:ext cx="4438601" cy="707136"/>
          </a:xfrm>
          <a:solidFill>
            <a:srgbClr val="EAEAEA"/>
          </a:solidFill>
        </p:spPr>
        <p:txBody>
          <a:bodyPr anchor="ctr">
            <a:normAutofit/>
          </a:bodyPr>
          <a:lstStyle>
            <a:lvl1pPr marL="0" indent="0" algn="l">
              <a:buNone/>
              <a:defRPr sz="18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Текст 10"/>
          <p:cNvSpPr>
            <a:spLocks noGrp="1"/>
          </p:cNvSpPr>
          <p:nvPr>
            <p:ph type="body" sz="quarter" idx="13"/>
          </p:nvPr>
        </p:nvSpPr>
        <p:spPr>
          <a:xfrm>
            <a:off x="5373277" y="1178814"/>
            <a:ext cx="4449451" cy="707136"/>
          </a:xfrm>
          <a:solidFill>
            <a:srgbClr val="EAEAEA"/>
          </a:solidFill>
        </p:spPr>
        <p:txBody>
          <a:bodyPr anchor="ctr">
            <a:normAutofit/>
          </a:bodyPr>
          <a:lstStyle>
            <a:lvl1pPr marL="0" indent="0" algn="l">
              <a:buNone/>
              <a:defRPr sz="18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4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608651"/>
            <a:ext cx="9906000" cy="249349"/>
          </a:xfrm>
          <a:solidFill>
            <a:schemeClr val="tx2"/>
          </a:solidFill>
        </p:spPr>
        <p:txBody>
          <a:bodyPr anchor="ctr">
            <a:noAutofit/>
          </a:bodyPr>
          <a:lstStyle>
            <a:lvl2pPr marL="0" indent="0">
              <a:spcBef>
                <a:spcPts val="0"/>
              </a:spcBef>
              <a:buNone/>
              <a:defRPr sz="1050" i="1">
                <a:solidFill>
                  <a:schemeClr val="bg1"/>
                </a:solidFill>
              </a:defRPr>
            </a:lvl2pPr>
          </a:lstStyle>
          <a:p>
            <a:pPr lvl="1"/>
            <a:r>
              <a:rPr lang="ru-RU" dirty="0" smtClean="0"/>
              <a:t>Источники:</a:t>
            </a:r>
            <a:endParaRPr lang="en-US" dirty="0"/>
          </a:p>
        </p:txBody>
      </p:sp>
      <p:sp>
        <p:nvSpPr>
          <p:cNvPr id="18" name="Номер слайда 13"/>
          <p:cNvSpPr>
            <a:spLocks noGrp="1"/>
          </p:cNvSpPr>
          <p:nvPr>
            <p:ph type="sldNum" sz="quarter" idx="16"/>
          </p:nvPr>
        </p:nvSpPr>
        <p:spPr>
          <a:xfrm>
            <a:off x="9445658" y="6608651"/>
            <a:ext cx="460342" cy="24935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74185DEA-EC0A-466A-86BE-ACF8F0BABD7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8" name="Прямая соединительная линия 27"/>
          <p:cNvCxnSpPr/>
          <p:nvPr userDrawn="1"/>
        </p:nvCxnSpPr>
        <p:spPr>
          <a:xfrm>
            <a:off x="5015779" y="6475750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 userDrawn="1"/>
        </p:nvCxnSpPr>
        <p:spPr>
          <a:xfrm>
            <a:off x="4959217" y="1993691"/>
            <a:ext cx="0" cy="4482059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 userDrawn="1"/>
        </p:nvSpPr>
        <p:spPr>
          <a:xfrm>
            <a:off x="74711" y="1178814"/>
            <a:ext cx="377775" cy="707136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000" b="1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</a:t>
            </a:r>
            <a:endParaRPr lang="en-US" sz="4000" b="1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5" name="Прямоугольник 34"/>
          <p:cNvSpPr/>
          <p:nvPr userDrawn="1"/>
        </p:nvSpPr>
        <p:spPr>
          <a:xfrm>
            <a:off x="5015779" y="1183758"/>
            <a:ext cx="368348" cy="7021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endParaRPr lang="en-US" sz="4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0" name="Заголовок 1"/>
          <p:cNvSpPr>
            <a:spLocks noGrp="1"/>
          </p:cNvSpPr>
          <p:nvPr>
            <p:ph type="title"/>
          </p:nvPr>
        </p:nvSpPr>
        <p:spPr>
          <a:xfrm>
            <a:off x="0" y="1"/>
            <a:ext cx="9906000" cy="1055802"/>
          </a:xfrm>
          <a:solidFill>
            <a:schemeClr val="tx2"/>
          </a:solidFill>
        </p:spPr>
        <p:txBody>
          <a:bodyPr>
            <a:normAutofit/>
          </a:bodyPr>
          <a:lstStyle>
            <a:lvl1pPr marL="108000">
              <a:lnSpc>
                <a:spcPct val="80000"/>
              </a:lnSpc>
              <a:defRPr sz="2800" b="0">
                <a:solidFill>
                  <a:srgbClr val="FDFDFD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814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4139" y="1993691"/>
            <a:ext cx="4806950" cy="4482059"/>
          </a:xfrm>
        </p:spPr>
        <p:txBody>
          <a:bodyPr/>
          <a:lstStyle>
            <a:lvl1pPr marL="185738" indent="-185738">
              <a:buFont typeface="Wingdings" panose="05000000000000000000" pitchFamily="2" charset="2"/>
              <a:buChar char="§"/>
              <a:defRPr/>
            </a:lvl1pPr>
            <a:lvl2pPr marL="557213" indent="-185738">
              <a:buFont typeface="Wingdings" panose="05000000000000000000" pitchFamily="2" charset="2"/>
              <a:buChar char="§"/>
              <a:defRPr/>
            </a:lvl2pPr>
            <a:lvl3pPr marL="928688" indent="-185738">
              <a:buFont typeface="Wingdings" panose="05000000000000000000" pitchFamily="2" charset="2"/>
              <a:buChar char="§"/>
              <a:defRPr/>
            </a:lvl3pPr>
            <a:lvl4pPr marL="1300163" indent="-185738">
              <a:buFont typeface="Wingdings" panose="05000000000000000000" pitchFamily="2" charset="2"/>
              <a:buChar char="§"/>
              <a:defRPr/>
            </a:lvl4pPr>
            <a:lvl5pPr marL="1671638" indent="-185738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15779" y="1993691"/>
            <a:ext cx="4806950" cy="4482060"/>
          </a:xfrm>
        </p:spPr>
        <p:txBody>
          <a:bodyPr/>
          <a:lstStyle>
            <a:lvl1pPr marL="185738" indent="-185738">
              <a:buFont typeface="Wingdings" panose="05000000000000000000" pitchFamily="2" charset="2"/>
              <a:buChar char="§"/>
              <a:defRPr/>
            </a:lvl1pPr>
            <a:lvl2pPr marL="557213" indent="-185738">
              <a:buFont typeface="Wingdings" panose="05000000000000000000" pitchFamily="2" charset="2"/>
              <a:buChar char="§"/>
              <a:defRPr/>
            </a:lvl2pPr>
            <a:lvl3pPr marL="928688" indent="-185738">
              <a:buFont typeface="Wingdings" panose="05000000000000000000" pitchFamily="2" charset="2"/>
              <a:buChar char="§"/>
              <a:defRPr/>
            </a:lvl3pPr>
            <a:lvl4pPr marL="1300163" indent="-185738">
              <a:buFont typeface="Wingdings" panose="05000000000000000000" pitchFamily="2" charset="2"/>
              <a:buChar char="§"/>
              <a:defRPr/>
            </a:lvl4pPr>
            <a:lvl5pPr marL="1671638" indent="-185738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2"/>
          </p:nvPr>
        </p:nvSpPr>
        <p:spPr>
          <a:xfrm>
            <a:off x="84139" y="1178814"/>
            <a:ext cx="4806949" cy="707136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Текст 10"/>
          <p:cNvSpPr>
            <a:spLocks noGrp="1"/>
          </p:cNvSpPr>
          <p:nvPr>
            <p:ph type="body" sz="quarter" idx="13"/>
          </p:nvPr>
        </p:nvSpPr>
        <p:spPr>
          <a:xfrm>
            <a:off x="5015779" y="1178814"/>
            <a:ext cx="4806949" cy="707136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4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608651"/>
            <a:ext cx="9906000" cy="249349"/>
          </a:xfrm>
          <a:solidFill>
            <a:schemeClr val="tx2"/>
          </a:solidFill>
        </p:spPr>
        <p:txBody>
          <a:bodyPr anchor="ctr">
            <a:noAutofit/>
          </a:bodyPr>
          <a:lstStyle>
            <a:lvl2pPr marL="0" indent="0">
              <a:spcBef>
                <a:spcPts val="0"/>
              </a:spcBef>
              <a:buNone/>
              <a:defRPr sz="1050" i="1">
                <a:solidFill>
                  <a:schemeClr val="bg1"/>
                </a:solidFill>
              </a:defRPr>
            </a:lvl2pPr>
          </a:lstStyle>
          <a:p>
            <a:pPr lvl="1"/>
            <a:r>
              <a:rPr lang="ru-RU" dirty="0" smtClean="0"/>
              <a:t>Источники:</a:t>
            </a:r>
            <a:endParaRPr lang="en-US" dirty="0"/>
          </a:p>
        </p:txBody>
      </p:sp>
      <p:sp>
        <p:nvSpPr>
          <p:cNvPr id="18" name="Номер слайда 13"/>
          <p:cNvSpPr>
            <a:spLocks noGrp="1"/>
          </p:cNvSpPr>
          <p:nvPr>
            <p:ph type="sldNum" sz="quarter" idx="16"/>
          </p:nvPr>
        </p:nvSpPr>
        <p:spPr>
          <a:xfrm>
            <a:off x="9445658" y="6608651"/>
            <a:ext cx="460342" cy="24935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74185DEA-EC0A-466A-86BE-ACF8F0BABD7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8" name="Прямая соединительная линия 27"/>
          <p:cNvCxnSpPr/>
          <p:nvPr userDrawn="1"/>
        </p:nvCxnSpPr>
        <p:spPr>
          <a:xfrm>
            <a:off x="5015779" y="6475750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 userDrawn="1"/>
        </p:nvCxnSpPr>
        <p:spPr>
          <a:xfrm>
            <a:off x="4959217" y="1993691"/>
            <a:ext cx="0" cy="4482059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Заголовок 1"/>
          <p:cNvSpPr>
            <a:spLocks noGrp="1"/>
          </p:cNvSpPr>
          <p:nvPr>
            <p:ph type="title"/>
          </p:nvPr>
        </p:nvSpPr>
        <p:spPr>
          <a:xfrm>
            <a:off x="0" y="1"/>
            <a:ext cx="9906000" cy="1055802"/>
          </a:xfrm>
          <a:solidFill>
            <a:schemeClr val="tx2"/>
          </a:solidFill>
        </p:spPr>
        <p:txBody>
          <a:bodyPr>
            <a:normAutofit/>
          </a:bodyPr>
          <a:lstStyle>
            <a:lvl1pPr marL="108000">
              <a:lnSpc>
                <a:spcPct val="80000"/>
              </a:lnSpc>
              <a:defRPr sz="2800" b="0">
                <a:solidFill>
                  <a:srgbClr val="FDFDFD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84139" y="1885950"/>
            <a:ext cx="480694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 userDrawn="1"/>
        </p:nvCxnSpPr>
        <p:spPr>
          <a:xfrm>
            <a:off x="5015779" y="1885950"/>
            <a:ext cx="480694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06407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4139" y="1993691"/>
            <a:ext cx="4806950" cy="4482059"/>
          </a:xfrm>
        </p:spPr>
        <p:txBody>
          <a:bodyPr/>
          <a:lstStyle>
            <a:lvl1pPr marL="185738" indent="-185738">
              <a:buFont typeface="Wingdings" panose="05000000000000000000" pitchFamily="2" charset="2"/>
              <a:buChar char="§"/>
              <a:defRPr/>
            </a:lvl1pPr>
            <a:lvl2pPr marL="557213" indent="-185738">
              <a:buFont typeface="Wingdings" panose="05000000000000000000" pitchFamily="2" charset="2"/>
              <a:buChar char="§"/>
              <a:defRPr/>
            </a:lvl2pPr>
            <a:lvl3pPr marL="928688" indent="-185738">
              <a:buFont typeface="Wingdings" panose="05000000000000000000" pitchFamily="2" charset="2"/>
              <a:buChar char="§"/>
              <a:defRPr/>
            </a:lvl3pPr>
            <a:lvl4pPr marL="1300163" indent="-185738">
              <a:buFont typeface="Wingdings" panose="05000000000000000000" pitchFamily="2" charset="2"/>
              <a:buChar char="§"/>
              <a:defRPr/>
            </a:lvl4pPr>
            <a:lvl5pPr marL="1671638" indent="-185738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15779" y="1993691"/>
            <a:ext cx="4806950" cy="4482060"/>
          </a:xfrm>
        </p:spPr>
        <p:txBody>
          <a:bodyPr/>
          <a:lstStyle>
            <a:lvl1pPr marL="185738" indent="-185738">
              <a:buFont typeface="Wingdings" panose="05000000000000000000" pitchFamily="2" charset="2"/>
              <a:buChar char="§"/>
              <a:defRPr/>
            </a:lvl1pPr>
            <a:lvl2pPr marL="557213" indent="-185738">
              <a:buFont typeface="Wingdings" panose="05000000000000000000" pitchFamily="2" charset="2"/>
              <a:buChar char="§"/>
              <a:defRPr/>
            </a:lvl2pPr>
            <a:lvl3pPr marL="928688" indent="-185738">
              <a:buFont typeface="Wingdings" panose="05000000000000000000" pitchFamily="2" charset="2"/>
              <a:buChar char="§"/>
              <a:defRPr/>
            </a:lvl3pPr>
            <a:lvl4pPr marL="1300163" indent="-185738">
              <a:buFont typeface="Wingdings" panose="05000000000000000000" pitchFamily="2" charset="2"/>
              <a:buChar char="§"/>
              <a:defRPr/>
            </a:lvl4pPr>
            <a:lvl5pPr marL="1671638" indent="-185738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2"/>
          </p:nvPr>
        </p:nvSpPr>
        <p:spPr>
          <a:xfrm>
            <a:off x="84139" y="1178814"/>
            <a:ext cx="4806949" cy="707136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Текст 10"/>
          <p:cNvSpPr>
            <a:spLocks noGrp="1"/>
          </p:cNvSpPr>
          <p:nvPr>
            <p:ph type="body" sz="quarter" idx="13"/>
          </p:nvPr>
        </p:nvSpPr>
        <p:spPr>
          <a:xfrm>
            <a:off x="5015779" y="1178814"/>
            <a:ext cx="4806949" cy="707136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4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608651"/>
            <a:ext cx="9906000" cy="249349"/>
          </a:xfrm>
          <a:solidFill>
            <a:schemeClr val="tx2"/>
          </a:solidFill>
        </p:spPr>
        <p:txBody>
          <a:bodyPr anchor="ctr">
            <a:noAutofit/>
          </a:bodyPr>
          <a:lstStyle>
            <a:lvl2pPr marL="0" indent="0">
              <a:spcBef>
                <a:spcPts val="0"/>
              </a:spcBef>
              <a:buNone/>
              <a:defRPr sz="1050" i="1">
                <a:solidFill>
                  <a:schemeClr val="bg1"/>
                </a:solidFill>
              </a:defRPr>
            </a:lvl2pPr>
          </a:lstStyle>
          <a:p>
            <a:pPr lvl="1"/>
            <a:r>
              <a:rPr lang="ru-RU" dirty="0" smtClean="0"/>
              <a:t>Источники:</a:t>
            </a:r>
            <a:endParaRPr lang="en-US" dirty="0"/>
          </a:p>
        </p:txBody>
      </p:sp>
      <p:sp>
        <p:nvSpPr>
          <p:cNvPr id="18" name="Номер слайда 13"/>
          <p:cNvSpPr>
            <a:spLocks noGrp="1"/>
          </p:cNvSpPr>
          <p:nvPr>
            <p:ph type="sldNum" sz="quarter" idx="16"/>
          </p:nvPr>
        </p:nvSpPr>
        <p:spPr>
          <a:xfrm>
            <a:off x="9445658" y="6608651"/>
            <a:ext cx="460342" cy="24935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74185DEA-EC0A-466A-86BE-ACF8F0BABD7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8" name="Прямая соединительная линия 27"/>
          <p:cNvCxnSpPr/>
          <p:nvPr userDrawn="1"/>
        </p:nvCxnSpPr>
        <p:spPr>
          <a:xfrm>
            <a:off x="5015779" y="6475750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Заголовок 1"/>
          <p:cNvSpPr>
            <a:spLocks noGrp="1"/>
          </p:cNvSpPr>
          <p:nvPr>
            <p:ph type="title"/>
          </p:nvPr>
        </p:nvSpPr>
        <p:spPr>
          <a:xfrm>
            <a:off x="0" y="1"/>
            <a:ext cx="9906000" cy="1055802"/>
          </a:xfrm>
          <a:solidFill>
            <a:schemeClr val="tx2"/>
          </a:solidFill>
        </p:spPr>
        <p:txBody>
          <a:bodyPr>
            <a:normAutofit/>
          </a:bodyPr>
          <a:lstStyle>
            <a:lvl1pPr marL="108000">
              <a:lnSpc>
                <a:spcPct val="80000"/>
              </a:lnSpc>
              <a:defRPr sz="2800" b="0">
                <a:solidFill>
                  <a:srgbClr val="FDFDFD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84139" y="1885950"/>
            <a:ext cx="480694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 userDrawn="1"/>
        </p:nvCxnSpPr>
        <p:spPr>
          <a:xfrm>
            <a:off x="5015779" y="1885950"/>
            <a:ext cx="480694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Нашивка 1"/>
          <p:cNvSpPr/>
          <p:nvPr userDrawn="1"/>
        </p:nvSpPr>
        <p:spPr>
          <a:xfrm>
            <a:off x="4769970" y="3063712"/>
            <a:ext cx="491617" cy="2177592"/>
          </a:xfrm>
          <a:prstGeom prst="chevron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625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5878" y="1709739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5878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185DEA-EC0A-466A-86BE-ACF8F0BABD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9543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09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185DEA-EC0A-466A-86BE-ACF8F0BABD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7400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5" r:id="rId4"/>
    <p:sldLayoutId id="2147483666" r:id="rId5"/>
    <p:sldLayoutId id="2147483663" r:id="rId6"/>
    <p:sldLayoutId id="2147483667" r:id="rId7"/>
  </p:sldLayoutIdLst>
  <p:hf hdr="0" ft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tags" Target="../tags/tag38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42" Type="http://schemas.openxmlformats.org/officeDocument/2006/relationships/tags" Target="../tags/tag41.xml"/><Relationship Id="rId47" Type="http://schemas.openxmlformats.org/officeDocument/2006/relationships/tags" Target="../tags/tag46.xml"/><Relationship Id="rId50" Type="http://schemas.openxmlformats.org/officeDocument/2006/relationships/tags" Target="../tags/tag49.xml"/><Relationship Id="rId55" Type="http://schemas.openxmlformats.org/officeDocument/2006/relationships/tags" Target="../tags/tag54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tags" Target="../tags/tag28.xml"/><Relationship Id="rId41" Type="http://schemas.openxmlformats.org/officeDocument/2006/relationships/tags" Target="../tags/tag40.xml"/><Relationship Id="rId54" Type="http://schemas.openxmlformats.org/officeDocument/2006/relationships/tags" Target="../tags/tag53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45" Type="http://schemas.openxmlformats.org/officeDocument/2006/relationships/tags" Target="../tags/tag44.xml"/><Relationship Id="rId53" Type="http://schemas.openxmlformats.org/officeDocument/2006/relationships/tags" Target="../tags/tag52.xml"/><Relationship Id="rId58" Type="http://schemas.openxmlformats.org/officeDocument/2006/relationships/slideLayout" Target="../slideLayouts/slideLayout2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49" Type="http://schemas.openxmlformats.org/officeDocument/2006/relationships/tags" Target="../tags/tag48.xml"/><Relationship Id="rId57" Type="http://schemas.openxmlformats.org/officeDocument/2006/relationships/tags" Target="../tags/tag56.xml"/><Relationship Id="rId61" Type="http://schemas.openxmlformats.org/officeDocument/2006/relationships/image" Target="../media/image4.emf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4" Type="http://schemas.openxmlformats.org/officeDocument/2006/relationships/tags" Target="../tags/tag43.xml"/><Relationship Id="rId52" Type="http://schemas.openxmlformats.org/officeDocument/2006/relationships/tags" Target="../tags/tag51.xml"/><Relationship Id="rId6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tags" Target="../tags/tag42.xml"/><Relationship Id="rId48" Type="http://schemas.openxmlformats.org/officeDocument/2006/relationships/tags" Target="../tags/tag47.xml"/><Relationship Id="rId56" Type="http://schemas.openxmlformats.org/officeDocument/2006/relationships/tags" Target="../tags/tag55.xml"/><Relationship Id="rId8" Type="http://schemas.openxmlformats.org/officeDocument/2006/relationships/tags" Target="../tags/tag7.xml"/><Relationship Id="rId51" Type="http://schemas.openxmlformats.org/officeDocument/2006/relationships/tags" Target="../tags/tag50.xml"/><Relationship Id="rId3" Type="http://schemas.openxmlformats.org/officeDocument/2006/relationships/tags" Target="../tags/tag2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46" Type="http://schemas.openxmlformats.org/officeDocument/2006/relationships/tags" Target="../tags/tag45.xml"/><Relationship Id="rId59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18" Type="http://schemas.openxmlformats.org/officeDocument/2006/relationships/tags" Target="../tags/tag73.xml"/><Relationship Id="rId26" Type="http://schemas.openxmlformats.org/officeDocument/2006/relationships/tags" Target="../tags/tag81.xml"/><Relationship Id="rId39" Type="http://schemas.openxmlformats.org/officeDocument/2006/relationships/tags" Target="../tags/tag94.xml"/><Relationship Id="rId3" Type="http://schemas.openxmlformats.org/officeDocument/2006/relationships/tags" Target="../tags/tag58.xml"/><Relationship Id="rId21" Type="http://schemas.openxmlformats.org/officeDocument/2006/relationships/tags" Target="../tags/tag76.xml"/><Relationship Id="rId34" Type="http://schemas.openxmlformats.org/officeDocument/2006/relationships/tags" Target="../tags/tag89.xml"/><Relationship Id="rId42" Type="http://schemas.openxmlformats.org/officeDocument/2006/relationships/tags" Target="../tags/tag97.xml"/><Relationship Id="rId47" Type="http://schemas.openxmlformats.org/officeDocument/2006/relationships/oleObject" Target="../embeddings/oleObject2.bin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tags" Target="../tags/tag72.xml"/><Relationship Id="rId25" Type="http://schemas.openxmlformats.org/officeDocument/2006/relationships/tags" Target="../tags/tag80.xml"/><Relationship Id="rId33" Type="http://schemas.openxmlformats.org/officeDocument/2006/relationships/tags" Target="../tags/tag88.xml"/><Relationship Id="rId38" Type="http://schemas.openxmlformats.org/officeDocument/2006/relationships/tags" Target="../tags/tag93.xml"/><Relationship Id="rId46" Type="http://schemas.openxmlformats.org/officeDocument/2006/relationships/slideLayout" Target="../slideLayouts/slideLayout2.xml"/><Relationship Id="rId2" Type="http://schemas.openxmlformats.org/officeDocument/2006/relationships/tags" Target="../tags/tag57.xml"/><Relationship Id="rId16" Type="http://schemas.openxmlformats.org/officeDocument/2006/relationships/tags" Target="../tags/tag71.xml"/><Relationship Id="rId20" Type="http://schemas.openxmlformats.org/officeDocument/2006/relationships/tags" Target="../tags/tag75.xml"/><Relationship Id="rId29" Type="http://schemas.openxmlformats.org/officeDocument/2006/relationships/tags" Target="../tags/tag84.xml"/><Relationship Id="rId41" Type="http://schemas.openxmlformats.org/officeDocument/2006/relationships/tags" Target="../tags/tag96.xml"/><Relationship Id="rId1" Type="http://schemas.openxmlformats.org/officeDocument/2006/relationships/vmlDrawing" Target="../drawings/vmlDrawing2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24" Type="http://schemas.openxmlformats.org/officeDocument/2006/relationships/tags" Target="../tags/tag79.xml"/><Relationship Id="rId32" Type="http://schemas.openxmlformats.org/officeDocument/2006/relationships/tags" Target="../tags/tag87.xml"/><Relationship Id="rId37" Type="http://schemas.openxmlformats.org/officeDocument/2006/relationships/tags" Target="../tags/tag92.xml"/><Relationship Id="rId40" Type="http://schemas.openxmlformats.org/officeDocument/2006/relationships/tags" Target="../tags/tag95.xml"/><Relationship Id="rId45" Type="http://schemas.openxmlformats.org/officeDocument/2006/relationships/tags" Target="../tags/tag100.xml"/><Relationship Id="rId5" Type="http://schemas.openxmlformats.org/officeDocument/2006/relationships/tags" Target="../tags/tag60.xml"/><Relationship Id="rId15" Type="http://schemas.openxmlformats.org/officeDocument/2006/relationships/tags" Target="../tags/tag70.xml"/><Relationship Id="rId23" Type="http://schemas.openxmlformats.org/officeDocument/2006/relationships/tags" Target="../tags/tag78.xml"/><Relationship Id="rId28" Type="http://schemas.openxmlformats.org/officeDocument/2006/relationships/tags" Target="../tags/tag83.xml"/><Relationship Id="rId36" Type="http://schemas.openxmlformats.org/officeDocument/2006/relationships/tags" Target="../tags/tag91.xml"/><Relationship Id="rId10" Type="http://schemas.openxmlformats.org/officeDocument/2006/relationships/tags" Target="../tags/tag65.xml"/><Relationship Id="rId19" Type="http://schemas.openxmlformats.org/officeDocument/2006/relationships/tags" Target="../tags/tag74.xml"/><Relationship Id="rId31" Type="http://schemas.openxmlformats.org/officeDocument/2006/relationships/tags" Target="../tags/tag86.xml"/><Relationship Id="rId44" Type="http://schemas.openxmlformats.org/officeDocument/2006/relationships/tags" Target="../tags/tag99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Relationship Id="rId22" Type="http://schemas.openxmlformats.org/officeDocument/2006/relationships/tags" Target="../tags/tag77.xml"/><Relationship Id="rId27" Type="http://schemas.openxmlformats.org/officeDocument/2006/relationships/tags" Target="../tags/tag82.xml"/><Relationship Id="rId30" Type="http://schemas.openxmlformats.org/officeDocument/2006/relationships/tags" Target="../tags/tag85.xml"/><Relationship Id="rId35" Type="http://schemas.openxmlformats.org/officeDocument/2006/relationships/tags" Target="../tags/tag90.xml"/><Relationship Id="rId43" Type="http://schemas.openxmlformats.org/officeDocument/2006/relationships/tags" Target="../tags/tag98.xml"/><Relationship Id="rId48" Type="http://schemas.openxmlformats.org/officeDocument/2006/relationships/image" Target="../media/image5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tags" Target="../tags/tag112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2" Type="http://schemas.openxmlformats.org/officeDocument/2006/relationships/tags" Target="../tags/tag101.xml"/><Relationship Id="rId16" Type="http://schemas.openxmlformats.org/officeDocument/2006/relationships/image" Target="../media/image6.emf"/><Relationship Id="rId1" Type="http://schemas.openxmlformats.org/officeDocument/2006/relationships/vmlDrawing" Target="../drawings/vmlDrawing3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109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24.xml"/><Relationship Id="rId18" Type="http://schemas.openxmlformats.org/officeDocument/2006/relationships/tags" Target="../tags/tag129.xml"/><Relationship Id="rId26" Type="http://schemas.openxmlformats.org/officeDocument/2006/relationships/tags" Target="../tags/tag137.xml"/><Relationship Id="rId39" Type="http://schemas.openxmlformats.org/officeDocument/2006/relationships/tags" Target="../tags/tag150.xml"/><Relationship Id="rId3" Type="http://schemas.openxmlformats.org/officeDocument/2006/relationships/tags" Target="../tags/tag114.xml"/><Relationship Id="rId21" Type="http://schemas.openxmlformats.org/officeDocument/2006/relationships/tags" Target="../tags/tag132.xml"/><Relationship Id="rId34" Type="http://schemas.openxmlformats.org/officeDocument/2006/relationships/tags" Target="../tags/tag145.xml"/><Relationship Id="rId42" Type="http://schemas.openxmlformats.org/officeDocument/2006/relationships/tags" Target="../tags/tag153.xml"/><Relationship Id="rId47" Type="http://schemas.openxmlformats.org/officeDocument/2006/relationships/tags" Target="../tags/tag158.xml"/><Relationship Id="rId50" Type="http://schemas.openxmlformats.org/officeDocument/2006/relationships/image" Target="../media/image7.emf"/><Relationship Id="rId7" Type="http://schemas.openxmlformats.org/officeDocument/2006/relationships/tags" Target="../tags/tag118.xml"/><Relationship Id="rId12" Type="http://schemas.openxmlformats.org/officeDocument/2006/relationships/tags" Target="../tags/tag123.xml"/><Relationship Id="rId17" Type="http://schemas.openxmlformats.org/officeDocument/2006/relationships/tags" Target="../tags/tag128.xml"/><Relationship Id="rId25" Type="http://schemas.openxmlformats.org/officeDocument/2006/relationships/tags" Target="../tags/tag136.xml"/><Relationship Id="rId33" Type="http://schemas.openxmlformats.org/officeDocument/2006/relationships/tags" Target="../tags/tag144.xml"/><Relationship Id="rId38" Type="http://schemas.openxmlformats.org/officeDocument/2006/relationships/tags" Target="../tags/tag149.xml"/><Relationship Id="rId46" Type="http://schemas.openxmlformats.org/officeDocument/2006/relationships/tags" Target="../tags/tag157.xml"/><Relationship Id="rId2" Type="http://schemas.openxmlformats.org/officeDocument/2006/relationships/tags" Target="../tags/tag113.xml"/><Relationship Id="rId16" Type="http://schemas.openxmlformats.org/officeDocument/2006/relationships/tags" Target="../tags/tag127.xml"/><Relationship Id="rId20" Type="http://schemas.openxmlformats.org/officeDocument/2006/relationships/tags" Target="../tags/tag131.xml"/><Relationship Id="rId29" Type="http://schemas.openxmlformats.org/officeDocument/2006/relationships/tags" Target="../tags/tag140.xml"/><Relationship Id="rId41" Type="http://schemas.openxmlformats.org/officeDocument/2006/relationships/tags" Target="../tags/tag152.xml"/><Relationship Id="rId1" Type="http://schemas.openxmlformats.org/officeDocument/2006/relationships/vmlDrawing" Target="../drawings/vmlDrawing4.vml"/><Relationship Id="rId6" Type="http://schemas.openxmlformats.org/officeDocument/2006/relationships/tags" Target="../tags/tag117.xml"/><Relationship Id="rId11" Type="http://schemas.openxmlformats.org/officeDocument/2006/relationships/tags" Target="../tags/tag122.xml"/><Relationship Id="rId24" Type="http://schemas.openxmlformats.org/officeDocument/2006/relationships/tags" Target="../tags/tag135.xml"/><Relationship Id="rId32" Type="http://schemas.openxmlformats.org/officeDocument/2006/relationships/tags" Target="../tags/tag143.xml"/><Relationship Id="rId37" Type="http://schemas.openxmlformats.org/officeDocument/2006/relationships/tags" Target="../tags/tag148.xml"/><Relationship Id="rId40" Type="http://schemas.openxmlformats.org/officeDocument/2006/relationships/tags" Target="../tags/tag151.xml"/><Relationship Id="rId45" Type="http://schemas.openxmlformats.org/officeDocument/2006/relationships/tags" Target="../tags/tag156.xml"/><Relationship Id="rId5" Type="http://schemas.openxmlformats.org/officeDocument/2006/relationships/tags" Target="../tags/tag116.xml"/><Relationship Id="rId15" Type="http://schemas.openxmlformats.org/officeDocument/2006/relationships/tags" Target="../tags/tag126.xml"/><Relationship Id="rId23" Type="http://schemas.openxmlformats.org/officeDocument/2006/relationships/tags" Target="../tags/tag134.xml"/><Relationship Id="rId28" Type="http://schemas.openxmlformats.org/officeDocument/2006/relationships/tags" Target="../tags/tag139.xml"/><Relationship Id="rId36" Type="http://schemas.openxmlformats.org/officeDocument/2006/relationships/tags" Target="../tags/tag147.xml"/><Relationship Id="rId49" Type="http://schemas.openxmlformats.org/officeDocument/2006/relationships/oleObject" Target="../embeddings/oleObject4.bin"/><Relationship Id="rId10" Type="http://schemas.openxmlformats.org/officeDocument/2006/relationships/tags" Target="../tags/tag121.xml"/><Relationship Id="rId19" Type="http://schemas.openxmlformats.org/officeDocument/2006/relationships/tags" Target="../tags/tag130.xml"/><Relationship Id="rId31" Type="http://schemas.openxmlformats.org/officeDocument/2006/relationships/tags" Target="../tags/tag142.xml"/><Relationship Id="rId44" Type="http://schemas.openxmlformats.org/officeDocument/2006/relationships/tags" Target="../tags/tag155.xml"/><Relationship Id="rId52" Type="http://schemas.openxmlformats.org/officeDocument/2006/relationships/image" Target="../media/image8.emf"/><Relationship Id="rId4" Type="http://schemas.openxmlformats.org/officeDocument/2006/relationships/tags" Target="../tags/tag115.xml"/><Relationship Id="rId9" Type="http://schemas.openxmlformats.org/officeDocument/2006/relationships/tags" Target="../tags/tag120.xml"/><Relationship Id="rId14" Type="http://schemas.openxmlformats.org/officeDocument/2006/relationships/tags" Target="../tags/tag125.xml"/><Relationship Id="rId22" Type="http://schemas.openxmlformats.org/officeDocument/2006/relationships/tags" Target="../tags/tag133.xml"/><Relationship Id="rId27" Type="http://schemas.openxmlformats.org/officeDocument/2006/relationships/tags" Target="../tags/tag138.xml"/><Relationship Id="rId30" Type="http://schemas.openxmlformats.org/officeDocument/2006/relationships/tags" Target="../tags/tag141.xml"/><Relationship Id="rId35" Type="http://schemas.openxmlformats.org/officeDocument/2006/relationships/tags" Target="../tags/tag146.xml"/><Relationship Id="rId43" Type="http://schemas.openxmlformats.org/officeDocument/2006/relationships/tags" Target="../tags/tag154.xml"/><Relationship Id="rId48" Type="http://schemas.openxmlformats.org/officeDocument/2006/relationships/slideLayout" Target="../slideLayouts/slideLayout5.xml"/><Relationship Id="rId8" Type="http://schemas.openxmlformats.org/officeDocument/2006/relationships/tags" Target="../tags/tag119.xml"/><Relationship Id="rId51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170.xml"/><Relationship Id="rId18" Type="http://schemas.openxmlformats.org/officeDocument/2006/relationships/tags" Target="../tags/tag175.xml"/><Relationship Id="rId26" Type="http://schemas.openxmlformats.org/officeDocument/2006/relationships/tags" Target="../tags/tag183.xml"/><Relationship Id="rId39" Type="http://schemas.openxmlformats.org/officeDocument/2006/relationships/tags" Target="../tags/tag196.xml"/><Relationship Id="rId21" Type="http://schemas.openxmlformats.org/officeDocument/2006/relationships/tags" Target="../tags/tag178.xml"/><Relationship Id="rId34" Type="http://schemas.openxmlformats.org/officeDocument/2006/relationships/tags" Target="../tags/tag191.xml"/><Relationship Id="rId42" Type="http://schemas.openxmlformats.org/officeDocument/2006/relationships/tags" Target="../tags/tag199.xml"/><Relationship Id="rId47" Type="http://schemas.openxmlformats.org/officeDocument/2006/relationships/tags" Target="../tags/tag204.xml"/><Relationship Id="rId50" Type="http://schemas.openxmlformats.org/officeDocument/2006/relationships/tags" Target="../tags/tag207.xml"/><Relationship Id="rId55" Type="http://schemas.openxmlformats.org/officeDocument/2006/relationships/tags" Target="../tags/tag212.xml"/><Relationship Id="rId63" Type="http://schemas.openxmlformats.org/officeDocument/2006/relationships/tags" Target="../tags/tag220.xml"/><Relationship Id="rId68" Type="http://schemas.openxmlformats.org/officeDocument/2006/relationships/tags" Target="../tags/tag225.xml"/><Relationship Id="rId76" Type="http://schemas.openxmlformats.org/officeDocument/2006/relationships/tags" Target="../tags/tag233.xml"/><Relationship Id="rId84" Type="http://schemas.openxmlformats.org/officeDocument/2006/relationships/tags" Target="../tags/tag241.xml"/><Relationship Id="rId89" Type="http://schemas.openxmlformats.org/officeDocument/2006/relationships/slideLayout" Target="../slideLayouts/slideLayout4.xml"/><Relationship Id="rId7" Type="http://schemas.openxmlformats.org/officeDocument/2006/relationships/tags" Target="../tags/tag164.xml"/><Relationship Id="rId71" Type="http://schemas.openxmlformats.org/officeDocument/2006/relationships/tags" Target="../tags/tag228.xml"/><Relationship Id="rId92" Type="http://schemas.openxmlformats.org/officeDocument/2006/relationships/oleObject" Target="../embeddings/oleObject7.bin"/><Relationship Id="rId2" Type="http://schemas.openxmlformats.org/officeDocument/2006/relationships/tags" Target="../tags/tag159.xml"/><Relationship Id="rId16" Type="http://schemas.openxmlformats.org/officeDocument/2006/relationships/tags" Target="../tags/tag173.xml"/><Relationship Id="rId29" Type="http://schemas.openxmlformats.org/officeDocument/2006/relationships/tags" Target="../tags/tag186.xml"/><Relationship Id="rId11" Type="http://schemas.openxmlformats.org/officeDocument/2006/relationships/tags" Target="../tags/tag168.xml"/><Relationship Id="rId24" Type="http://schemas.openxmlformats.org/officeDocument/2006/relationships/tags" Target="../tags/tag181.xml"/><Relationship Id="rId32" Type="http://schemas.openxmlformats.org/officeDocument/2006/relationships/tags" Target="../tags/tag189.xml"/><Relationship Id="rId37" Type="http://schemas.openxmlformats.org/officeDocument/2006/relationships/tags" Target="../tags/tag194.xml"/><Relationship Id="rId40" Type="http://schemas.openxmlformats.org/officeDocument/2006/relationships/tags" Target="../tags/tag197.xml"/><Relationship Id="rId45" Type="http://schemas.openxmlformats.org/officeDocument/2006/relationships/tags" Target="../tags/tag202.xml"/><Relationship Id="rId53" Type="http://schemas.openxmlformats.org/officeDocument/2006/relationships/tags" Target="../tags/tag210.xml"/><Relationship Id="rId58" Type="http://schemas.openxmlformats.org/officeDocument/2006/relationships/tags" Target="../tags/tag215.xml"/><Relationship Id="rId66" Type="http://schemas.openxmlformats.org/officeDocument/2006/relationships/tags" Target="../tags/tag223.xml"/><Relationship Id="rId74" Type="http://schemas.openxmlformats.org/officeDocument/2006/relationships/tags" Target="../tags/tag231.xml"/><Relationship Id="rId79" Type="http://schemas.openxmlformats.org/officeDocument/2006/relationships/tags" Target="../tags/tag236.xml"/><Relationship Id="rId87" Type="http://schemas.openxmlformats.org/officeDocument/2006/relationships/tags" Target="../tags/tag244.xml"/><Relationship Id="rId5" Type="http://schemas.openxmlformats.org/officeDocument/2006/relationships/tags" Target="../tags/tag162.xml"/><Relationship Id="rId61" Type="http://schemas.openxmlformats.org/officeDocument/2006/relationships/tags" Target="../tags/tag218.xml"/><Relationship Id="rId82" Type="http://schemas.openxmlformats.org/officeDocument/2006/relationships/tags" Target="../tags/tag239.xml"/><Relationship Id="rId90" Type="http://schemas.openxmlformats.org/officeDocument/2006/relationships/oleObject" Target="../embeddings/oleObject6.bin"/><Relationship Id="rId95" Type="http://schemas.openxmlformats.org/officeDocument/2006/relationships/image" Target="../media/image10.emf"/><Relationship Id="rId19" Type="http://schemas.openxmlformats.org/officeDocument/2006/relationships/tags" Target="../tags/tag176.xml"/><Relationship Id="rId14" Type="http://schemas.openxmlformats.org/officeDocument/2006/relationships/tags" Target="../tags/tag171.xml"/><Relationship Id="rId22" Type="http://schemas.openxmlformats.org/officeDocument/2006/relationships/tags" Target="../tags/tag179.xml"/><Relationship Id="rId27" Type="http://schemas.openxmlformats.org/officeDocument/2006/relationships/tags" Target="../tags/tag184.xml"/><Relationship Id="rId30" Type="http://schemas.openxmlformats.org/officeDocument/2006/relationships/tags" Target="../tags/tag187.xml"/><Relationship Id="rId35" Type="http://schemas.openxmlformats.org/officeDocument/2006/relationships/tags" Target="../tags/tag192.xml"/><Relationship Id="rId43" Type="http://schemas.openxmlformats.org/officeDocument/2006/relationships/tags" Target="../tags/tag200.xml"/><Relationship Id="rId48" Type="http://schemas.openxmlformats.org/officeDocument/2006/relationships/tags" Target="../tags/tag205.xml"/><Relationship Id="rId56" Type="http://schemas.openxmlformats.org/officeDocument/2006/relationships/tags" Target="../tags/tag213.xml"/><Relationship Id="rId64" Type="http://schemas.openxmlformats.org/officeDocument/2006/relationships/tags" Target="../tags/tag221.xml"/><Relationship Id="rId69" Type="http://schemas.openxmlformats.org/officeDocument/2006/relationships/tags" Target="../tags/tag226.xml"/><Relationship Id="rId77" Type="http://schemas.openxmlformats.org/officeDocument/2006/relationships/tags" Target="../tags/tag234.xml"/><Relationship Id="rId8" Type="http://schemas.openxmlformats.org/officeDocument/2006/relationships/tags" Target="../tags/tag165.xml"/><Relationship Id="rId51" Type="http://schemas.openxmlformats.org/officeDocument/2006/relationships/tags" Target="../tags/tag208.xml"/><Relationship Id="rId72" Type="http://schemas.openxmlformats.org/officeDocument/2006/relationships/tags" Target="../tags/tag229.xml"/><Relationship Id="rId80" Type="http://schemas.openxmlformats.org/officeDocument/2006/relationships/tags" Target="../tags/tag237.xml"/><Relationship Id="rId85" Type="http://schemas.openxmlformats.org/officeDocument/2006/relationships/tags" Target="../tags/tag242.xml"/><Relationship Id="rId93" Type="http://schemas.openxmlformats.org/officeDocument/2006/relationships/image" Target="../media/image9.emf"/><Relationship Id="rId3" Type="http://schemas.openxmlformats.org/officeDocument/2006/relationships/tags" Target="../tags/tag160.xml"/><Relationship Id="rId12" Type="http://schemas.openxmlformats.org/officeDocument/2006/relationships/tags" Target="../tags/tag169.xml"/><Relationship Id="rId17" Type="http://schemas.openxmlformats.org/officeDocument/2006/relationships/tags" Target="../tags/tag174.xml"/><Relationship Id="rId25" Type="http://schemas.openxmlformats.org/officeDocument/2006/relationships/tags" Target="../tags/tag182.xml"/><Relationship Id="rId33" Type="http://schemas.openxmlformats.org/officeDocument/2006/relationships/tags" Target="../tags/tag190.xml"/><Relationship Id="rId38" Type="http://schemas.openxmlformats.org/officeDocument/2006/relationships/tags" Target="../tags/tag195.xml"/><Relationship Id="rId46" Type="http://schemas.openxmlformats.org/officeDocument/2006/relationships/tags" Target="../tags/tag203.xml"/><Relationship Id="rId59" Type="http://schemas.openxmlformats.org/officeDocument/2006/relationships/tags" Target="../tags/tag216.xml"/><Relationship Id="rId67" Type="http://schemas.openxmlformats.org/officeDocument/2006/relationships/tags" Target="../tags/tag224.xml"/><Relationship Id="rId20" Type="http://schemas.openxmlformats.org/officeDocument/2006/relationships/tags" Target="../tags/tag177.xml"/><Relationship Id="rId41" Type="http://schemas.openxmlformats.org/officeDocument/2006/relationships/tags" Target="../tags/tag198.xml"/><Relationship Id="rId54" Type="http://schemas.openxmlformats.org/officeDocument/2006/relationships/tags" Target="../tags/tag211.xml"/><Relationship Id="rId62" Type="http://schemas.openxmlformats.org/officeDocument/2006/relationships/tags" Target="../tags/tag219.xml"/><Relationship Id="rId70" Type="http://schemas.openxmlformats.org/officeDocument/2006/relationships/tags" Target="../tags/tag227.xml"/><Relationship Id="rId75" Type="http://schemas.openxmlformats.org/officeDocument/2006/relationships/tags" Target="../tags/tag232.xml"/><Relationship Id="rId83" Type="http://schemas.openxmlformats.org/officeDocument/2006/relationships/tags" Target="../tags/tag240.xml"/><Relationship Id="rId88" Type="http://schemas.openxmlformats.org/officeDocument/2006/relationships/tags" Target="../tags/tag245.xml"/><Relationship Id="rId91" Type="http://schemas.openxmlformats.org/officeDocument/2006/relationships/image" Target="../media/image6.emf"/><Relationship Id="rId1" Type="http://schemas.openxmlformats.org/officeDocument/2006/relationships/vmlDrawing" Target="../drawings/vmlDrawing5.vml"/><Relationship Id="rId6" Type="http://schemas.openxmlformats.org/officeDocument/2006/relationships/tags" Target="../tags/tag163.xml"/><Relationship Id="rId15" Type="http://schemas.openxmlformats.org/officeDocument/2006/relationships/tags" Target="../tags/tag172.xml"/><Relationship Id="rId23" Type="http://schemas.openxmlformats.org/officeDocument/2006/relationships/tags" Target="../tags/tag180.xml"/><Relationship Id="rId28" Type="http://schemas.openxmlformats.org/officeDocument/2006/relationships/tags" Target="../tags/tag185.xml"/><Relationship Id="rId36" Type="http://schemas.openxmlformats.org/officeDocument/2006/relationships/tags" Target="../tags/tag193.xml"/><Relationship Id="rId49" Type="http://schemas.openxmlformats.org/officeDocument/2006/relationships/tags" Target="../tags/tag206.xml"/><Relationship Id="rId57" Type="http://schemas.openxmlformats.org/officeDocument/2006/relationships/tags" Target="../tags/tag214.xml"/><Relationship Id="rId10" Type="http://schemas.openxmlformats.org/officeDocument/2006/relationships/tags" Target="../tags/tag167.xml"/><Relationship Id="rId31" Type="http://schemas.openxmlformats.org/officeDocument/2006/relationships/tags" Target="../tags/tag188.xml"/><Relationship Id="rId44" Type="http://schemas.openxmlformats.org/officeDocument/2006/relationships/tags" Target="../tags/tag201.xml"/><Relationship Id="rId52" Type="http://schemas.openxmlformats.org/officeDocument/2006/relationships/tags" Target="../tags/tag209.xml"/><Relationship Id="rId60" Type="http://schemas.openxmlformats.org/officeDocument/2006/relationships/tags" Target="../tags/tag217.xml"/><Relationship Id="rId65" Type="http://schemas.openxmlformats.org/officeDocument/2006/relationships/tags" Target="../tags/tag222.xml"/><Relationship Id="rId73" Type="http://schemas.openxmlformats.org/officeDocument/2006/relationships/tags" Target="../tags/tag230.xml"/><Relationship Id="rId78" Type="http://schemas.openxmlformats.org/officeDocument/2006/relationships/tags" Target="../tags/tag235.xml"/><Relationship Id="rId81" Type="http://schemas.openxmlformats.org/officeDocument/2006/relationships/tags" Target="../tags/tag238.xml"/><Relationship Id="rId86" Type="http://schemas.openxmlformats.org/officeDocument/2006/relationships/tags" Target="../tags/tag243.xml"/><Relationship Id="rId94" Type="http://schemas.openxmlformats.org/officeDocument/2006/relationships/oleObject" Target="../embeddings/oleObject8.bin"/><Relationship Id="rId4" Type="http://schemas.openxmlformats.org/officeDocument/2006/relationships/tags" Target="../tags/tag161.xml"/><Relationship Id="rId9" Type="http://schemas.openxmlformats.org/officeDocument/2006/relationships/tags" Target="../tags/tag16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52.xml"/><Relationship Id="rId13" Type="http://schemas.openxmlformats.org/officeDocument/2006/relationships/tags" Target="../tags/tag257.xml"/><Relationship Id="rId18" Type="http://schemas.openxmlformats.org/officeDocument/2006/relationships/tags" Target="../tags/tag262.xml"/><Relationship Id="rId26" Type="http://schemas.openxmlformats.org/officeDocument/2006/relationships/tags" Target="../tags/tag270.xml"/><Relationship Id="rId39" Type="http://schemas.openxmlformats.org/officeDocument/2006/relationships/image" Target="../media/image11.emf"/><Relationship Id="rId3" Type="http://schemas.openxmlformats.org/officeDocument/2006/relationships/tags" Target="../tags/tag247.xml"/><Relationship Id="rId21" Type="http://schemas.openxmlformats.org/officeDocument/2006/relationships/tags" Target="../tags/tag265.xml"/><Relationship Id="rId34" Type="http://schemas.openxmlformats.org/officeDocument/2006/relationships/tags" Target="../tags/tag278.xml"/><Relationship Id="rId7" Type="http://schemas.openxmlformats.org/officeDocument/2006/relationships/tags" Target="../tags/tag251.xml"/><Relationship Id="rId12" Type="http://schemas.openxmlformats.org/officeDocument/2006/relationships/tags" Target="../tags/tag256.xml"/><Relationship Id="rId17" Type="http://schemas.openxmlformats.org/officeDocument/2006/relationships/tags" Target="../tags/tag261.xml"/><Relationship Id="rId25" Type="http://schemas.openxmlformats.org/officeDocument/2006/relationships/tags" Target="../tags/tag269.xml"/><Relationship Id="rId33" Type="http://schemas.openxmlformats.org/officeDocument/2006/relationships/tags" Target="../tags/tag277.xml"/><Relationship Id="rId38" Type="http://schemas.openxmlformats.org/officeDocument/2006/relationships/oleObject" Target="../embeddings/oleObject10.bin"/><Relationship Id="rId2" Type="http://schemas.openxmlformats.org/officeDocument/2006/relationships/tags" Target="../tags/tag246.xml"/><Relationship Id="rId16" Type="http://schemas.openxmlformats.org/officeDocument/2006/relationships/tags" Target="../tags/tag260.xml"/><Relationship Id="rId20" Type="http://schemas.openxmlformats.org/officeDocument/2006/relationships/tags" Target="../tags/tag264.xml"/><Relationship Id="rId29" Type="http://schemas.openxmlformats.org/officeDocument/2006/relationships/tags" Target="../tags/tag273.xml"/><Relationship Id="rId41" Type="http://schemas.openxmlformats.org/officeDocument/2006/relationships/image" Target="../media/image12.emf"/><Relationship Id="rId1" Type="http://schemas.openxmlformats.org/officeDocument/2006/relationships/vmlDrawing" Target="../drawings/vmlDrawing6.vml"/><Relationship Id="rId6" Type="http://schemas.openxmlformats.org/officeDocument/2006/relationships/tags" Target="../tags/tag250.xml"/><Relationship Id="rId11" Type="http://schemas.openxmlformats.org/officeDocument/2006/relationships/tags" Target="../tags/tag255.xml"/><Relationship Id="rId24" Type="http://schemas.openxmlformats.org/officeDocument/2006/relationships/tags" Target="../tags/tag268.xml"/><Relationship Id="rId32" Type="http://schemas.openxmlformats.org/officeDocument/2006/relationships/tags" Target="../tags/tag276.xml"/><Relationship Id="rId37" Type="http://schemas.openxmlformats.org/officeDocument/2006/relationships/image" Target="../media/image6.emf"/><Relationship Id="rId40" Type="http://schemas.openxmlformats.org/officeDocument/2006/relationships/oleObject" Target="../embeddings/oleObject11.bin"/><Relationship Id="rId5" Type="http://schemas.openxmlformats.org/officeDocument/2006/relationships/tags" Target="../tags/tag249.xml"/><Relationship Id="rId15" Type="http://schemas.openxmlformats.org/officeDocument/2006/relationships/tags" Target="../tags/tag259.xml"/><Relationship Id="rId23" Type="http://schemas.openxmlformats.org/officeDocument/2006/relationships/tags" Target="../tags/tag267.xml"/><Relationship Id="rId28" Type="http://schemas.openxmlformats.org/officeDocument/2006/relationships/tags" Target="../tags/tag272.xml"/><Relationship Id="rId36" Type="http://schemas.openxmlformats.org/officeDocument/2006/relationships/oleObject" Target="../embeddings/oleObject9.bin"/><Relationship Id="rId10" Type="http://schemas.openxmlformats.org/officeDocument/2006/relationships/tags" Target="../tags/tag254.xml"/><Relationship Id="rId19" Type="http://schemas.openxmlformats.org/officeDocument/2006/relationships/tags" Target="../tags/tag263.xml"/><Relationship Id="rId31" Type="http://schemas.openxmlformats.org/officeDocument/2006/relationships/tags" Target="../tags/tag275.xml"/><Relationship Id="rId4" Type="http://schemas.openxmlformats.org/officeDocument/2006/relationships/tags" Target="../tags/tag248.xml"/><Relationship Id="rId9" Type="http://schemas.openxmlformats.org/officeDocument/2006/relationships/tags" Target="../tags/tag253.xml"/><Relationship Id="rId14" Type="http://schemas.openxmlformats.org/officeDocument/2006/relationships/tags" Target="../tags/tag258.xml"/><Relationship Id="rId22" Type="http://schemas.openxmlformats.org/officeDocument/2006/relationships/tags" Target="../tags/tag266.xml"/><Relationship Id="rId27" Type="http://schemas.openxmlformats.org/officeDocument/2006/relationships/tags" Target="../tags/tag271.xml"/><Relationship Id="rId30" Type="http://schemas.openxmlformats.org/officeDocument/2006/relationships/tags" Target="../tags/tag274.xml"/><Relationship Id="rId35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9898098" cy="556768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705099" y="3901442"/>
            <a:ext cx="6519863" cy="1666240"/>
          </a:xfrm>
          <a:solidFill>
            <a:srgbClr val="FFFFFF">
              <a:alpha val="89804"/>
            </a:srgbClr>
          </a:solidFill>
        </p:spPr>
        <p:txBody>
          <a:bodyPr>
            <a:normAutofit/>
          </a:bodyPr>
          <a:lstStyle/>
          <a:p>
            <a:r>
              <a:rPr lang="ru-RU" sz="4000" dirty="0"/>
              <a:t>Сужение рынка мобильной связи: что дальше?</a:t>
            </a:r>
            <a:endParaRPr lang="en-US" sz="40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9224962" y="0"/>
            <a:ext cx="68103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Прямоугольник 5"/>
          <p:cNvSpPr/>
          <p:nvPr/>
        </p:nvSpPr>
        <p:spPr>
          <a:xfrm>
            <a:off x="5862320" y="5765601"/>
            <a:ext cx="3250882" cy="406400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2400" dirty="0" smtClean="0">
                <a:solidFill>
                  <a:schemeClr val="bg1">
                    <a:lumMod val="65000"/>
                  </a:schemeClr>
                </a:solidFill>
              </a:rPr>
              <a:t>Команда №5</a:t>
            </a:r>
            <a:endParaRPr lang="en-US" sz="24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267" y="5841590"/>
            <a:ext cx="991399" cy="929368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7612" y="5804549"/>
            <a:ext cx="1093120" cy="987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518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ебольшие изменения в продвижении услуг МегаФона позволят увеличить их использование и повысить лояльность </a:t>
            </a:r>
            <a:r>
              <a:rPr lang="ru-RU" dirty="0" smtClean="0"/>
              <a:t>абонентов</a:t>
            </a:r>
            <a:endParaRPr lang="en-US" dirty="0"/>
          </a:p>
        </p:txBody>
      </p:sp>
      <p:graphicFrame>
        <p:nvGraphicFramePr>
          <p:cNvPr id="14" name="Объект 1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0198661"/>
              </p:ext>
            </p:extLst>
          </p:nvPr>
        </p:nvGraphicFramePr>
        <p:xfrm>
          <a:off x="-1" y="1055803"/>
          <a:ext cx="9906002" cy="5552847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690881"/>
                <a:gridCol w="3071707"/>
                <a:gridCol w="3071707"/>
                <a:gridCol w="3071707"/>
              </a:tblGrid>
              <a:tr h="31249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3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350" dirty="0" smtClean="0"/>
                        <a:t>Идея</a:t>
                      </a:r>
                      <a:endParaRPr lang="en-US" sz="13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350" dirty="0" smtClean="0"/>
                        <a:t>Ценность для клиента</a:t>
                      </a:r>
                      <a:endParaRPr lang="en-US" sz="13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350" dirty="0" smtClean="0"/>
                        <a:t>Ценность для Мегафона</a:t>
                      </a:r>
                      <a:endParaRPr lang="en-US" sz="1350" dirty="0"/>
                    </a:p>
                  </a:txBody>
                  <a:tcPr/>
                </a:tc>
              </a:tr>
              <a:tr h="117787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350" dirty="0" smtClean="0"/>
                        <a:t>Создать интерактивный стенд в офисах продаж, демонстрирующий возможности носимой электроники и роль мобильного оператора в современной жизни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Clr>
                          <a:schemeClr val="accent2">
                            <a:lumMod val="75000"/>
                          </a:schemeClr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350" dirty="0" smtClean="0"/>
                        <a:t> Клиенты узнают о новых технологиях и видят тенденции будущего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buClr>
                          <a:schemeClr val="accent2">
                            <a:lumMod val="75000"/>
                          </a:schemeClr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350" dirty="0" smtClean="0"/>
                        <a:t> Растет интерес к развитию технологи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Clr>
                          <a:schemeClr val="accent2">
                            <a:lumMod val="75000"/>
                          </a:schemeClr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350" dirty="0" smtClean="0"/>
                        <a:t> Рост продаж носимой электроники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buClr>
                          <a:schemeClr val="accent2">
                            <a:lumMod val="75000"/>
                          </a:schemeClr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350" dirty="0" smtClean="0"/>
                        <a:t> Увеличение силы бренда МегаФона за счет понимания клиентом возможностей, которые открывает оператор</a:t>
                      </a:r>
                    </a:p>
                  </a:txBody>
                  <a:tcPr/>
                </a:tc>
              </a:tr>
              <a:tr h="139422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350" dirty="0" smtClean="0"/>
                        <a:t>Предлагать на главной странице личного кабинета на сайте и в мобильном приложении медиа контент и показывать информацию об услугах и приложениях МегаФон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Clr>
                          <a:schemeClr val="accent2">
                            <a:lumMod val="75000"/>
                          </a:schemeClr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350" dirty="0" smtClean="0"/>
                        <a:t>  Подборка релевантных для абонента видео, музыки и электронных изданий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buClr>
                          <a:schemeClr val="accent2">
                            <a:lumMod val="75000"/>
                          </a:schemeClr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350" dirty="0" smtClean="0"/>
                        <a:t> Абонент узнает о сервисах, предлагаемых МегаФоном, и получает рекомендацию о подключении услуг, основанную на его активност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Clr>
                          <a:schemeClr val="accent2">
                            <a:lumMod val="75000"/>
                          </a:schemeClr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350" dirty="0" smtClean="0"/>
                        <a:t> Улучшение информирования абонентов о предоставляемых услугах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buClr>
                          <a:schemeClr val="accent2">
                            <a:lumMod val="75000"/>
                          </a:schemeClr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350" dirty="0" smtClean="0"/>
                        <a:t> Рост использования цифровых сервисов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buClr>
                          <a:schemeClr val="accent2">
                            <a:lumMod val="75000"/>
                          </a:schemeClr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350" dirty="0" smtClean="0"/>
                        <a:t> Повышение лояльности абонентов</a:t>
                      </a:r>
                    </a:p>
                  </a:txBody>
                  <a:tcPr/>
                </a:tc>
              </a:tr>
              <a:tr h="96153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350" dirty="0" smtClean="0"/>
                        <a:t>Добавить элементы </a:t>
                      </a:r>
                      <a:r>
                        <a:rPr lang="ru-RU" sz="1350" dirty="0" err="1" smtClean="0"/>
                        <a:t>геймификации</a:t>
                      </a:r>
                      <a:r>
                        <a:rPr lang="ru-RU" sz="1350" dirty="0" smtClean="0"/>
                        <a:t> в личном кабинете на сайте и в приложении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Clr>
                          <a:schemeClr val="accent2">
                            <a:lumMod val="75000"/>
                          </a:schemeClr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350" dirty="0" smtClean="0"/>
                        <a:t>  Информирование о стимулирующих акциях и участие абонента в них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buClr>
                          <a:schemeClr val="accent2">
                            <a:lumMod val="75000"/>
                          </a:schemeClr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350" dirty="0" smtClean="0"/>
                        <a:t> Игровые элементы способствуют самовыражению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Clr>
                          <a:schemeClr val="accent2">
                            <a:lumMod val="75000"/>
                          </a:schemeClr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350" dirty="0" smtClean="0"/>
                        <a:t> Повышается вовлеченность и лояльность абонентов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buClr>
                          <a:schemeClr val="accent2">
                            <a:lumMod val="75000"/>
                          </a:schemeClr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350" dirty="0" smtClean="0"/>
                        <a:t> Прирост абонентов за счет рекомендаций</a:t>
                      </a:r>
                    </a:p>
                  </a:txBody>
                  <a:tcPr/>
                </a:tc>
              </a:tr>
              <a:tr h="74518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350" dirty="0" smtClean="0"/>
                        <a:t>Улучшить и продвигать «</a:t>
                      </a:r>
                      <a:r>
                        <a:rPr lang="ru-RU" sz="1350" dirty="0" err="1" smtClean="0"/>
                        <a:t>МультиФон</a:t>
                      </a:r>
                      <a:r>
                        <a:rPr lang="ru-RU" sz="1350" dirty="0" smtClean="0"/>
                        <a:t>» в B2B и B2C сегмента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Clr>
                          <a:schemeClr val="accent2">
                            <a:lumMod val="75000"/>
                          </a:schemeClr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350" dirty="0" smtClean="0"/>
                        <a:t> Низкая стоимость звонков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buClr>
                          <a:schemeClr val="accent2">
                            <a:lumMod val="75000"/>
                          </a:schemeClr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350" dirty="0" smtClean="0"/>
                        <a:t> Сохранение мобильного номера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Clr>
                          <a:schemeClr val="accent2">
                            <a:lumMod val="75000"/>
                          </a:schemeClr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350" dirty="0" smtClean="0"/>
                        <a:t> Привлечение доходов, получаемых OTT компаниями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buClr>
                          <a:schemeClr val="accent2">
                            <a:lumMod val="75000"/>
                          </a:schemeClr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350" dirty="0" smtClean="0"/>
                        <a:t> Повышение лояльности абонентов </a:t>
                      </a:r>
                    </a:p>
                  </a:txBody>
                  <a:tcPr/>
                </a:tc>
              </a:tr>
              <a:tr h="96153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50" dirty="0" smtClean="0"/>
                        <a:t>Бесплатная SMS-рассылка с полезной информацией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Clr>
                          <a:schemeClr val="accent2">
                            <a:lumMod val="75000"/>
                          </a:schemeClr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350" dirty="0" smtClean="0"/>
                        <a:t> Абонент сам выбирает тематику (Языки, Погода, Бизнес и Экономика) 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buClr>
                          <a:schemeClr val="accent2">
                            <a:lumMod val="75000"/>
                          </a:schemeClr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350" dirty="0" smtClean="0"/>
                        <a:t> Удобство и регулярность информаци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Clr>
                          <a:schemeClr val="accent2">
                            <a:lumMod val="75000"/>
                          </a:schemeClr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350" dirty="0" smtClean="0"/>
                        <a:t> Повышение лояльности абонентов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2" name="Текст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1100" i="1" dirty="0" smtClean="0">
                <a:solidFill>
                  <a:schemeClr val="bg1"/>
                </a:solidFill>
              </a:rPr>
              <a:t>Источники:</a:t>
            </a:r>
            <a:endParaRPr lang="en-US" sz="1100" i="1" dirty="0">
              <a:solidFill>
                <a:schemeClr val="bg1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185DEA-EC0A-466A-86BE-ACF8F0BABD7C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54" y="1792417"/>
            <a:ext cx="376569" cy="36581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55" y="3030932"/>
            <a:ext cx="376569" cy="36581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214" y="4215442"/>
            <a:ext cx="365810" cy="36581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032" y="5088147"/>
            <a:ext cx="365810" cy="36581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346" y="5936286"/>
            <a:ext cx="365810" cy="365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07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815"/>
          <a:stretch/>
        </p:blipFill>
        <p:spPr>
          <a:xfrm>
            <a:off x="0" y="0"/>
            <a:ext cx="9224962" cy="556768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705099" y="3916680"/>
            <a:ext cx="6519863" cy="1666240"/>
          </a:xfrm>
          <a:solidFill>
            <a:srgbClr val="FFFFFF">
              <a:alpha val="89804"/>
            </a:srgbClr>
          </a:solidFill>
        </p:spPr>
        <p:txBody>
          <a:bodyPr>
            <a:normAutofit/>
          </a:bodyPr>
          <a:lstStyle/>
          <a:p>
            <a:r>
              <a:rPr lang="ru-RU" sz="4000" dirty="0" smtClean="0"/>
              <a:t>ПРИЛОЖЕНИЕ</a:t>
            </a:r>
            <a:endParaRPr lang="en-US" sz="40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9224962" y="0"/>
            <a:ext cx="68103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5482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филь активного пользователя мобильного интернета (Россия, 2014 г.)</a:t>
            </a:r>
            <a:endParaRPr lang="en-US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96281453"/>
              </p:ext>
            </p:extLst>
          </p:nvPr>
        </p:nvGraphicFramePr>
        <p:xfrm>
          <a:off x="84138" y="1176338"/>
          <a:ext cx="9729786" cy="5366704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2455862"/>
                <a:gridCol w="1833880"/>
                <a:gridCol w="1833880"/>
                <a:gridCol w="1803082"/>
                <a:gridCol w="1803082"/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Тип</a:t>
                      </a:r>
                      <a:r>
                        <a:rPr lang="ru-RU" sz="1600" baseline="0" dirty="0" smtClean="0"/>
                        <a:t> устройства</a:t>
                      </a:r>
                      <a:endParaRPr lang="en-US" sz="1600" dirty="0"/>
                    </a:p>
                  </a:txBody>
                  <a:tcPr anchor="ctr">
                    <a:lnL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Активные абоненты</a:t>
                      </a:r>
                      <a:endParaRPr lang="en-US" sz="1600" dirty="0"/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Трафик</a:t>
                      </a:r>
                      <a:endParaRPr lang="en-US" sz="16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Количество, млн</a:t>
                      </a:r>
                      <a:endParaRPr lang="en-US" sz="1400" dirty="0"/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Изменение за год</a:t>
                      </a:r>
                      <a:endParaRPr lang="en-US" sz="1400" dirty="0"/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редний трафик, ГБ</a:t>
                      </a:r>
                      <a:r>
                        <a:rPr lang="en-US" sz="1400" dirty="0" smtClean="0"/>
                        <a:t>/</a:t>
                      </a:r>
                      <a:r>
                        <a:rPr lang="ru-RU" sz="1400" dirty="0" smtClean="0"/>
                        <a:t>мес.</a:t>
                      </a:r>
                      <a:endParaRPr lang="en-US" sz="1400" dirty="0"/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Изменение за год</a:t>
                      </a:r>
                      <a:endParaRPr lang="en-US" sz="1400" dirty="0"/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1119426"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/>
                        <a:t>Смартфон</a:t>
                      </a:r>
                      <a:endParaRPr lang="en-US" sz="1600" dirty="0"/>
                    </a:p>
                  </a:txBody>
                  <a:tcPr anchor="ctr">
                    <a:lnL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/>
                        <a:t>1,2</a:t>
                      </a:r>
                      <a:endParaRPr lang="en-US" sz="1600" b="0" dirty="0"/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119426"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/>
                        <a:t>Мобильный</a:t>
                      </a:r>
                      <a:br>
                        <a:rPr lang="ru-RU" sz="1600" dirty="0" smtClean="0"/>
                      </a:br>
                      <a:r>
                        <a:rPr lang="ru-RU" sz="1600" dirty="0" smtClean="0"/>
                        <a:t>телефон</a:t>
                      </a:r>
                      <a:endParaRPr lang="en-US" sz="1600" dirty="0"/>
                    </a:p>
                  </a:txBody>
                  <a:tcPr anchor="ctr">
                    <a:lnL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/>
                        <a:t>0,1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119426"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/>
                        <a:t>Модем</a:t>
                      </a:r>
                      <a:endParaRPr lang="en-US" sz="1600" dirty="0"/>
                    </a:p>
                  </a:txBody>
                  <a:tcPr anchor="ctr">
                    <a:lnL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/>
                        <a:t>5,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119426"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/>
                        <a:t>Планшетный </a:t>
                      </a:r>
                      <a:br>
                        <a:rPr lang="ru-RU" sz="1600" dirty="0" smtClean="0"/>
                      </a:br>
                      <a:r>
                        <a:rPr lang="ru-RU" sz="1600" dirty="0" smtClean="0"/>
                        <a:t>ПК</a:t>
                      </a:r>
                      <a:endParaRPr lang="en-US" sz="1600" dirty="0"/>
                    </a:p>
                  </a:txBody>
                  <a:tcPr anchor="ctr">
                    <a:lnL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/>
                        <a:t>2,2</a:t>
                      </a:r>
                      <a:endParaRPr lang="en-US" sz="1600" b="0" dirty="0"/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1100" i="1" dirty="0" smtClean="0">
                <a:solidFill>
                  <a:schemeClr val="bg1"/>
                </a:solidFill>
              </a:rPr>
              <a:t>Источники: </a:t>
            </a:r>
            <a:r>
              <a:rPr lang="en-US" sz="1100" i="1" dirty="0" err="1">
                <a:solidFill>
                  <a:schemeClr val="bg1"/>
                </a:solidFill>
              </a:rPr>
              <a:t>J’son</a:t>
            </a:r>
            <a:r>
              <a:rPr lang="en-US" sz="1100" i="1" dirty="0">
                <a:solidFill>
                  <a:schemeClr val="bg1"/>
                </a:solidFill>
              </a:rPr>
              <a:t> &amp; </a:t>
            </a:r>
            <a:r>
              <a:rPr lang="en-US" sz="1100" i="1" dirty="0" smtClean="0">
                <a:solidFill>
                  <a:schemeClr val="bg1"/>
                </a:solidFill>
              </a:rPr>
              <a:t>Partners </a:t>
            </a:r>
            <a:r>
              <a:rPr lang="en-US" sz="1100" i="1" dirty="0">
                <a:solidFill>
                  <a:schemeClr val="bg1"/>
                </a:solidFill>
              </a:rPr>
              <a:t>Consulting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185DEA-EC0A-466A-86BE-ACF8F0BABD7C}" type="slidenum">
              <a:rPr lang="en-US" smtClean="0"/>
              <a:pPr/>
              <a:t>12</a:t>
            </a:fld>
            <a:endParaRPr lang="en-US" dirty="0"/>
          </a:p>
        </p:txBody>
      </p:sp>
      <p:graphicFrame>
        <p:nvGraphicFramePr>
          <p:cNvPr id="8" name="Диаграмма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16183219"/>
              </p:ext>
            </p:extLst>
          </p:nvPr>
        </p:nvGraphicFramePr>
        <p:xfrm>
          <a:off x="2772797" y="1972806"/>
          <a:ext cx="2034650" cy="46907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Овал 9"/>
          <p:cNvSpPr/>
          <p:nvPr/>
        </p:nvSpPr>
        <p:spPr>
          <a:xfrm>
            <a:off x="4807444" y="2469520"/>
            <a:ext cx="1007165" cy="371061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+41%</a:t>
            </a:r>
            <a:endParaRPr lang="en-US" sz="1600" dirty="0"/>
          </a:p>
        </p:txBody>
      </p:sp>
      <p:sp>
        <p:nvSpPr>
          <p:cNvPr id="11" name="Овал 10"/>
          <p:cNvSpPr/>
          <p:nvPr/>
        </p:nvSpPr>
        <p:spPr>
          <a:xfrm>
            <a:off x="4807444" y="3576821"/>
            <a:ext cx="1007165" cy="371061"/>
          </a:xfrm>
          <a:prstGeom prst="ellipse">
            <a:avLst/>
          </a:prstGeom>
          <a:solidFill>
            <a:schemeClr val="bg2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-33%</a:t>
            </a:r>
            <a:endParaRPr lang="en-US" sz="1600" dirty="0"/>
          </a:p>
        </p:txBody>
      </p:sp>
      <p:sp>
        <p:nvSpPr>
          <p:cNvPr id="12" name="Овал 11"/>
          <p:cNvSpPr/>
          <p:nvPr/>
        </p:nvSpPr>
        <p:spPr>
          <a:xfrm>
            <a:off x="4807445" y="4684122"/>
            <a:ext cx="1007165" cy="371061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+5%</a:t>
            </a:r>
            <a:endParaRPr lang="en-US" sz="1600" dirty="0"/>
          </a:p>
        </p:txBody>
      </p:sp>
      <p:sp>
        <p:nvSpPr>
          <p:cNvPr id="13" name="Овал 12"/>
          <p:cNvSpPr/>
          <p:nvPr/>
        </p:nvSpPr>
        <p:spPr>
          <a:xfrm>
            <a:off x="4807444" y="5834204"/>
            <a:ext cx="1007165" cy="371061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+86%</a:t>
            </a:r>
            <a:endParaRPr lang="en-US" sz="1600" dirty="0"/>
          </a:p>
        </p:txBody>
      </p:sp>
      <p:sp>
        <p:nvSpPr>
          <p:cNvPr id="14" name="Овал 13"/>
          <p:cNvSpPr/>
          <p:nvPr/>
        </p:nvSpPr>
        <p:spPr>
          <a:xfrm>
            <a:off x="8408893" y="2469520"/>
            <a:ext cx="1007165" cy="371061"/>
          </a:xfrm>
          <a:prstGeom prst="ellipse">
            <a:avLst/>
          </a:prstGeom>
          <a:solidFill>
            <a:schemeClr val="tx2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+85%</a:t>
            </a:r>
            <a:endParaRPr lang="en-US" sz="1600" dirty="0"/>
          </a:p>
        </p:txBody>
      </p:sp>
      <p:sp>
        <p:nvSpPr>
          <p:cNvPr id="15" name="Овал 14"/>
          <p:cNvSpPr/>
          <p:nvPr/>
        </p:nvSpPr>
        <p:spPr>
          <a:xfrm>
            <a:off x="8408892" y="3578412"/>
            <a:ext cx="1007165" cy="371061"/>
          </a:xfrm>
          <a:prstGeom prst="ellipse">
            <a:avLst/>
          </a:prstGeom>
          <a:solidFill>
            <a:schemeClr val="tx2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+50%</a:t>
            </a:r>
            <a:endParaRPr lang="en-US" sz="1600" dirty="0"/>
          </a:p>
        </p:txBody>
      </p:sp>
      <p:sp>
        <p:nvSpPr>
          <p:cNvPr id="16" name="Овал 15"/>
          <p:cNvSpPr/>
          <p:nvPr/>
        </p:nvSpPr>
        <p:spPr>
          <a:xfrm>
            <a:off x="8408890" y="4684121"/>
            <a:ext cx="1007165" cy="371061"/>
          </a:xfrm>
          <a:prstGeom prst="ellipse">
            <a:avLst/>
          </a:prstGeom>
          <a:solidFill>
            <a:schemeClr val="tx2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+28%</a:t>
            </a:r>
            <a:endParaRPr lang="en-US" sz="1600" dirty="0"/>
          </a:p>
        </p:txBody>
      </p:sp>
      <p:sp>
        <p:nvSpPr>
          <p:cNvPr id="17" name="Овал 16"/>
          <p:cNvSpPr/>
          <p:nvPr/>
        </p:nvSpPr>
        <p:spPr>
          <a:xfrm>
            <a:off x="8408890" y="5834203"/>
            <a:ext cx="1007165" cy="371061"/>
          </a:xfrm>
          <a:prstGeom prst="ellipse">
            <a:avLst/>
          </a:prstGeom>
          <a:solidFill>
            <a:schemeClr val="tx2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+59%</a:t>
            </a:r>
            <a:endParaRPr lang="en-US" sz="1600" dirty="0"/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640" y="2204720"/>
            <a:ext cx="379148" cy="757781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597" y="3371406"/>
            <a:ext cx="397768" cy="763714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278" y="4349480"/>
            <a:ext cx="964199" cy="964199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727" y="5729258"/>
            <a:ext cx="762093" cy="600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3677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равнение приложений</a:t>
            </a:r>
            <a:endParaRPr lang="en-US" dirty="0"/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75552999"/>
              </p:ext>
            </p:extLst>
          </p:nvPr>
        </p:nvGraphicFramePr>
        <p:xfrm>
          <a:off x="2" y="1055802"/>
          <a:ext cx="9906000" cy="5552854"/>
        </p:xfrm>
        <a:graphic>
          <a:graphicData uri="http://schemas.openxmlformats.org/drawingml/2006/table">
            <a:tbl>
              <a:tblPr firstRow="1" firstCol="1" bandRow="1">
                <a:tableStyleId>{D27102A9-8310-4765-A935-A1911B00CA55}</a:tableStyleId>
              </a:tblPr>
              <a:tblGrid>
                <a:gridCol w="1869438"/>
                <a:gridCol w="2678854"/>
                <a:gridCol w="2678854"/>
                <a:gridCol w="2678854"/>
              </a:tblGrid>
              <a:tr h="220852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2"/>
                          </a:solidFill>
                          <a:effectLst/>
                        </a:rPr>
                        <a:t>Приложения</a:t>
                      </a:r>
                      <a:endParaRPr lang="en-US" sz="1400" b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2"/>
                          </a:solidFill>
                          <a:effectLst/>
                        </a:rPr>
                        <a:t>Мегафон</a:t>
                      </a:r>
                      <a:endParaRPr lang="en-US" sz="1400" b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2"/>
                          </a:solidFill>
                          <a:effectLst/>
                        </a:rPr>
                        <a:t>МТС</a:t>
                      </a:r>
                      <a:endParaRPr lang="en-US" sz="1400" b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2"/>
                          </a:solidFill>
                          <a:effectLst/>
                        </a:rPr>
                        <a:t>Билайн</a:t>
                      </a:r>
                      <a:endParaRPr lang="en-US" sz="1400" b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05077">
                <a:tc>
                  <a:txBody>
                    <a:bodyPr/>
                    <a:lstStyle/>
                    <a:p>
                      <a:pPr marL="7200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Личный кабинет</a:t>
                      </a:r>
                      <a:endParaRPr lang="en-US" sz="13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МегаФон» Личный кабинет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Мой МТС»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Мой Билайн»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05077">
                <a:tc>
                  <a:txBody>
                    <a:bodyPr/>
                    <a:lstStyle/>
                    <a:p>
                      <a:pPr marL="7200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0" i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Облако</a:t>
                      </a:r>
                      <a:r>
                        <a:rPr lang="en-US" sz="1300" b="0" i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 B2C</a:t>
                      </a:r>
                      <a:endParaRPr lang="en-US" sz="13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 err="1">
                          <a:effectLst/>
                        </a:rPr>
                        <a:t>МегаДиск</a:t>
                      </a:r>
                      <a:r>
                        <a:rPr lang="ru-RU" sz="1300" dirty="0">
                          <a:effectLst/>
                        </a:rPr>
                        <a:t>»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МТС Вторая память</a:t>
                      </a:r>
                      <a:r>
                        <a:rPr lang="ru-RU" sz="1300" dirty="0" smtClean="0">
                          <a:effectLst/>
                        </a:rPr>
                        <a:t>»</a:t>
                      </a:r>
                      <a:r>
                        <a:rPr lang="ru-RU" sz="1300" dirty="0">
                          <a:effectLst/>
                        </a:rPr>
                        <a:t> 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410154">
                <a:tc>
                  <a:txBody>
                    <a:bodyPr/>
                    <a:lstStyle/>
                    <a:p>
                      <a:pPr marL="7200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ТВ и кино</a:t>
                      </a:r>
                      <a:endParaRPr lang="en-US" sz="13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Мегафон ТВ»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МТС ТВ»</a:t>
                      </a:r>
                      <a:endParaRPr lang="en-US" sz="1300" dirty="0">
                        <a:effectLst/>
                      </a:endParaRPr>
                    </a:p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МТС Кино»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Билайн ТВ</a:t>
                      </a:r>
                      <a:r>
                        <a:rPr lang="ru-RU" sz="1300" dirty="0" smtClean="0">
                          <a:effectLst/>
                        </a:rPr>
                        <a:t>»</a:t>
                      </a:r>
                      <a:endParaRPr lang="en-US" sz="1300" dirty="0">
                        <a:effectLst/>
                      </a:endParaRPr>
                    </a:p>
                  </a:txBody>
                  <a:tcPr marL="68580" marR="68580" marT="0" marB="0" anchor="ctr"/>
                </a:tc>
              </a:tr>
              <a:tr h="410154">
                <a:tc>
                  <a:txBody>
                    <a:bodyPr/>
                    <a:lstStyle/>
                    <a:p>
                      <a:pPr marL="7200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узыка</a:t>
                      </a:r>
                      <a:endParaRPr lang="en-US" sz="13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en-US" sz="1300" dirty="0" err="1">
                          <a:effectLst/>
                        </a:rPr>
                        <a:t>Trava</a:t>
                      </a:r>
                      <a:r>
                        <a:rPr lang="ru-RU" sz="1300" dirty="0">
                          <a:effectLst/>
                        </a:rPr>
                        <a:t>.</a:t>
                      </a:r>
                      <a:r>
                        <a:rPr lang="en-US" sz="1300" dirty="0">
                          <a:effectLst/>
                        </a:rPr>
                        <a:t>ru</a:t>
                      </a:r>
                      <a:r>
                        <a:rPr lang="ru-RU" sz="1300" dirty="0" smtClean="0">
                          <a:effectLst/>
                        </a:rPr>
                        <a:t>»</a:t>
                      </a:r>
                      <a:endParaRPr lang="en-US" sz="1300" dirty="0">
                        <a:effectLst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МТС </a:t>
                      </a:r>
                      <a:r>
                        <a:rPr lang="en-US" sz="1300" dirty="0">
                          <a:effectLst/>
                        </a:rPr>
                        <a:t>Music</a:t>
                      </a:r>
                      <a:r>
                        <a:rPr lang="ru-RU" sz="1300" dirty="0" smtClean="0">
                          <a:effectLst/>
                        </a:rPr>
                        <a:t>»</a:t>
                      </a:r>
                      <a:r>
                        <a:rPr lang="ru-RU" sz="1300" dirty="0">
                          <a:effectLst/>
                        </a:rPr>
                        <a:t> 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Музыка Билайн»</a:t>
                      </a:r>
                      <a:endParaRPr lang="en-US" sz="1300" dirty="0">
                        <a:effectLst/>
                      </a:endParaRPr>
                    </a:p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Волна»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410154">
                <a:tc>
                  <a:txBody>
                    <a:bodyPr/>
                    <a:lstStyle/>
                    <a:p>
                      <a:pPr marL="7200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Локатор</a:t>
                      </a:r>
                      <a:endParaRPr lang="en-US" sz="13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Радар»</a:t>
                      </a:r>
                      <a:endParaRPr lang="en-US" sz="1300" dirty="0">
                        <a:effectLst/>
                      </a:endParaRPr>
                    </a:p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МегаФон </a:t>
                      </a:r>
                      <a:r>
                        <a:rPr lang="ru-RU" sz="1300" dirty="0" err="1">
                          <a:effectLst/>
                        </a:rPr>
                        <a:t>Трекер</a:t>
                      </a:r>
                      <a:r>
                        <a:rPr lang="ru-RU" sz="1300" dirty="0">
                          <a:effectLst/>
                        </a:rPr>
                        <a:t>»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МТС Локатор»</a:t>
                      </a:r>
                      <a:endParaRPr lang="en-US" sz="1300" dirty="0">
                        <a:effectLst/>
                      </a:endParaRPr>
                    </a:p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Где дети»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Билайн Локатор»</a:t>
                      </a:r>
                      <a:endParaRPr lang="en-US" sz="1300" dirty="0">
                        <a:effectLst/>
                      </a:endParaRPr>
                    </a:p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Жучок»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05077">
                <a:tc>
                  <a:txBody>
                    <a:bodyPr/>
                    <a:lstStyle/>
                    <a:p>
                      <a:pPr marL="7200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вонки через Интернет</a:t>
                      </a:r>
                      <a:endParaRPr lang="en-US" sz="13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 err="1">
                          <a:effectLst/>
                        </a:rPr>
                        <a:t>МультиФон</a:t>
                      </a:r>
                      <a:r>
                        <a:rPr lang="ru-RU" sz="1300" dirty="0" smtClean="0">
                          <a:effectLst/>
                        </a:rPr>
                        <a:t>»</a:t>
                      </a:r>
                      <a:r>
                        <a:rPr lang="ru-RU" sz="1300" dirty="0">
                          <a:effectLst/>
                        </a:rPr>
                        <a:t> 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МТС </a:t>
                      </a:r>
                      <a:r>
                        <a:rPr lang="en-US" sz="1300" dirty="0">
                          <a:effectLst/>
                        </a:rPr>
                        <a:t>Connect</a:t>
                      </a:r>
                      <a:r>
                        <a:rPr lang="ru-RU" sz="1300" dirty="0">
                          <a:effectLst/>
                        </a:rPr>
                        <a:t>»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05077">
                <a:tc>
                  <a:txBody>
                    <a:bodyPr/>
                    <a:lstStyle/>
                    <a:p>
                      <a:pPr marL="7200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Билеты в кино</a:t>
                      </a:r>
                      <a:endParaRPr lang="en-US" sz="13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 err="1">
                          <a:effectLst/>
                        </a:rPr>
                        <a:t>Кино.Мегафон</a:t>
                      </a:r>
                      <a:r>
                        <a:rPr lang="ru-RU" sz="1300" dirty="0">
                          <a:effectLst/>
                        </a:rPr>
                        <a:t>»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300" dirty="0">
                          <a:effectLst/>
                        </a:rPr>
                        <a:t> 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Билеты в кино»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05077">
                <a:tc>
                  <a:txBody>
                    <a:bodyPr/>
                    <a:lstStyle/>
                    <a:p>
                      <a:pPr marL="7200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Игры</a:t>
                      </a:r>
                      <a:endParaRPr lang="en-US" sz="13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en-US" sz="1300" dirty="0" err="1">
                          <a:effectLst/>
                        </a:rPr>
                        <a:t>MegaRace</a:t>
                      </a:r>
                      <a:r>
                        <a:rPr lang="ru-RU" sz="1300" dirty="0">
                          <a:effectLst/>
                        </a:rPr>
                        <a:t>»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300" dirty="0">
                          <a:effectLst/>
                        </a:rPr>
                        <a:t> 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410154">
                <a:tc>
                  <a:txBody>
                    <a:bodyPr/>
                    <a:lstStyle/>
                    <a:p>
                      <a:pPr marL="7200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Управление устройствами</a:t>
                      </a:r>
                      <a:endParaRPr lang="en-US" sz="13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 err="1">
                          <a:effectLst/>
                        </a:rPr>
                        <a:t>Мультипульт</a:t>
                      </a:r>
                      <a:r>
                        <a:rPr lang="ru-RU" sz="1300" dirty="0" smtClean="0">
                          <a:effectLst/>
                        </a:rPr>
                        <a:t>»</a:t>
                      </a:r>
                      <a:r>
                        <a:rPr lang="ru-RU" sz="1300" dirty="0">
                          <a:effectLst/>
                        </a:rPr>
                        <a:t> 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300" dirty="0">
                          <a:effectLst/>
                        </a:rPr>
                        <a:t> 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05077">
                <a:tc>
                  <a:txBody>
                    <a:bodyPr/>
                    <a:lstStyle/>
                    <a:p>
                      <a:pPr marL="7200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амена гудка</a:t>
                      </a:r>
                      <a:endParaRPr lang="en-US" sz="13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 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МТС </a:t>
                      </a:r>
                      <a:r>
                        <a:rPr lang="en-US" sz="1300" dirty="0">
                          <a:effectLst/>
                        </a:rPr>
                        <a:t>GOOD</a:t>
                      </a:r>
                      <a:r>
                        <a:rPr lang="ru-RU" sz="1300" dirty="0">
                          <a:effectLst/>
                        </a:rPr>
                        <a:t>’</a:t>
                      </a:r>
                      <a:r>
                        <a:rPr lang="en-US" sz="1300" dirty="0">
                          <a:effectLst/>
                        </a:rPr>
                        <a:t>OK</a:t>
                      </a:r>
                      <a:r>
                        <a:rPr lang="ru-RU" sz="1300" dirty="0">
                          <a:effectLst/>
                        </a:rPr>
                        <a:t>»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Замени гудок»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05077">
                <a:tc>
                  <a:txBody>
                    <a:bodyPr/>
                    <a:lstStyle/>
                    <a:p>
                      <a:pPr marL="7200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обильный банк</a:t>
                      </a:r>
                      <a:endParaRPr lang="en-US" sz="13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 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МТС Банк»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300" dirty="0">
                          <a:effectLst/>
                        </a:rPr>
                        <a:t> 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410154">
                <a:tc>
                  <a:txBody>
                    <a:bodyPr/>
                    <a:lstStyle/>
                    <a:p>
                      <a:pPr marL="7200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Книги и пресса</a:t>
                      </a:r>
                      <a:endParaRPr lang="en-US" sz="13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 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МТС Книги»</a:t>
                      </a:r>
                      <a:endParaRPr lang="en-US" sz="1300" dirty="0">
                        <a:effectLst/>
                      </a:endParaRPr>
                    </a:p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МТС Пресса»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 err="1">
                          <a:effectLst/>
                        </a:rPr>
                        <a:t>Билайн.Киоск</a:t>
                      </a:r>
                      <a:r>
                        <a:rPr lang="ru-RU" sz="1300" dirty="0">
                          <a:effectLst/>
                        </a:rPr>
                        <a:t>»</a:t>
                      </a:r>
                      <a:endParaRPr lang="en-US" sz="1300" dirty="0">
                        <a:effectLst/>
                      </a:endParaRPr>
                    </a:p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05077">
                <a:tc>
                  <a:txBody>
                    <a:bodyPr/>
                    <a:lstStyle/>
                    <a:p>
                      <a:pPr marL="7200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Платежи</a:t>
                      </a:r>
                      <a:endParaRPr lang="en-US" sz="13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 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Легкий платеж»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en-US" sz="1300" dirty="0">
                          <a:effectLst/>
                        </a:rPr>
                        <a:t>Card Beeline</a:t>
                      </a:r>
                      <a:r>
                        <a:rPr lang="ru-RU" sz="1300" dirty="0">
                          <a:effectLst/>
                        </a:rPr>
                        <a:t>»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05077">
                <a:tc>
                  <a:txBody>
                    <a:bodyPr/>
                    <a:lstStyle/>
                    <a:p>
                      <a:pPr marL="7200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Скидки</a:t>
                      </a:r>
                      <a:endParaRPr lang="en-US" sz="13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 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Скидка дня»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410154">
                <a:tc>
                  <a:txBody>
                    <a:bodyPr/>
                    <a:lstStyle/>
                    <a:p>
                      <a:pPr marL="7200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Видеонаблюдение</a:t>
                      </a:r>
                      <a:endParaRPr lang="en-US" sz="13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 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300" dirty="0" smtClean="0">
                          <a:effectLst/>
                        </a:rPr>
                        <a:t>«</a:t>
                      </a:r>
                      <a:r>
                        <a:rPr lang="en-US" sz="1300" dirty="0" err="1">
                          <a:effectLst/>
                        </a:rPr>
                        <a:t>MGTS.My</a:t>
                      </a:r>
                      <a:r>
                        <a:rPr lang="en-US" sz="1300" dirty="0">
                          <a:effectLst/>
                        </a:rPr>
                        <a:t> Cam»</a:t>
                      </a:r>
                    </a:p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300" dirty="0" smtClean="0">
                          <a:effectLst/>
                        </a:rPr>
                        <a:t>«</a:t>
                      </a:r>
                      <a:r>
                        <a:rPr lang="en-US" sz="1300" dirty="0" err="1">
                          <a:effectLst/>
                        </a:rPr>
                        <a:t>MGTS.Office</a:t>
                      </a:r>
                      <a:r>
                        <a:rPr lang="en-US" sz="1300" dirty="0">
                          <a:effectLst/>
                        </a:rPr>
                        <a:t> Cam»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410154">
                <a:tc>
                  <a:txBody>
                    <a:bodyPr/>
                    <a:lstStyle/>
                    <a:p>
                      <a:pPr marL="7200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Местонахождение сотрудников</a:t>
                      </a:r>
                      <a:endParaRPr lang="en-US" sz="13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 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Мобильные сотрудники МТС»</a:t>
                      </a:r>
                      <a:endParaRPr lang="en-US" sz="1300" dirty="0">
                        <a:effectLst/>
                      </a:endParaRPr>
                    </a:p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МТС Координатор»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Билайн </a:t>
                      </a:r>
                      <a:r>
                        <a:rPr lang="ru-RU" sz="1300" dirty="0" err="1" smtClean="0">
                          <a:effectLst/>
                        </a:rPr>
                        <a:t>Трекер</a:t>
                      </a:r>
                      <a:r>
                        <a:rPr lang="ru-RU" sz="1300" dirty="0" smtClean="0">
                          <a:effectLst/>
                        </a:rPr>
                        <a:t>»</a:t>
                      </a:r>
                      <a:endParaRPr lang="en-US" sz="1300" dirty="0">
                        <a:effectLst/>
                      </a:endParaRPr>
                    </a:p>
                  </a:txBody>
                  <a:tcPr marL="68580" marR="68580" marT="0" marB="0" anchor="ctr"/>
                </a:tc>
              </a:tr>
              <a:tr h="205077">
                <a:tc>
                  <a:txBody>
                    <a:bodyPr/>
                    <a:lstStyle/>
                    <a:p>
                      <a:pPr marL="7200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Языки</a:t>
                      </a:r>
                      <a:endParaRPr lang="en-US" sz="13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 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300" dirty="0">
                          <a:effectLst/>
                        </a:rPr>
                        <a:t> 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Иностранные языки Билайн»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05077">
                <a:tc>
                  <a:txBody>
                    <a:bodyPr/>
                    <a:lstStyle/>
                    <a:p>
                      <a:pPr marL="7200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Оплата штрафов</a:t>
                      </a:r>
                      <a:endParaRPr lang="en-US" sz="13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 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 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 err="1">
                          <a:effectLst/>
                        </a:rPr>
                        <a:t>Автоштрафы</a:t>
                      </a:r>
                      <a:r>
                        <a:rPr lang="ru-RU" sz="1300" dirty="0">
                          <a:effectLst/>
                        </a:rPr>
                        <a:t>»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05077">
                <a:tc>
                  <a:txBody>
                    <a:bodyPr/>
                    <a:lstStyle/>
                    <a:p>
                      <a:pPr marL="7200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Знакомства</a:t>
                      </a:r>
                      <a:endParaRPr lang="en-US" sz="13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 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 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300" dirty="0" smtClean="0">
                          <a:effectLst/>
                        </a:rPr>
                        <a:t>«</a:t>
                      </a:r>
                      <a:r>
                        <a:rPr lang="ru-RU" sz="1300" dirty="0">
                          <a:effectLst/>
                        </a:rPr>
                        <a:t>1+1»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1100" i="1" dirty="0" smtClean="0">
                <a:solidFill>
                  <a:schemeClr val="bg1"/>
                </a:solidFill>
              </a:rPr>
              <a:t>Источники: </a:t>
            </a:r>
            <a:r>
              <a:rPr lang="en-US" sz="1100" i="1" dirty="0" err="1" smtClean="0">
                <a:solidFill>
                  <a:schemeClr val="bg1"/>
                </a:solidFill>
              </a:rPr>
              <a:t>AppStore</a:t>
            </a:r>
            <a:endParaRPr lang="en-US" sz="1100" i="1" dirty="0">
              <a:solidFill>
                <a:schemeClr val="bg1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185DEA-EC0A-466A-86BE-ACF8F0BABD7C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159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3516717"/>
              </p:ext>
            </p:extLst>
          </p:nvPr>
        </p:nvGraphicFramePr>
        <p:xfrm>
          <a:off x="0" y="1055803"/>
          <a:ext cx="9906000" cy="5565207"/>
        </p:xfrm>
        <a:graphic>
          <a:graphicData uri="http://schemas.openxmlformats.org/drawingml/2006/table">
            <a:tbl>
              <a:tblPr firstRow="1" firstCol="1" bandRow="1">
                <a:tableStyleId>{D27102A9-8310-4765-A935-A1911B00CA55}</a:tableStyleId>
              </a:tblPr>
              <a:tblGrid>
                <a:gridCol w="1981200"/>
                <a:gridCol w="1981200"/>
                <a:gridCol w="1981200"/>
                <a:gridCol w="1981200"/>
                <a:gridCol w="1981200"/>
              </a:tblGrid>
              <a:tr h="312654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2"/>
                          </a:solidFill>
                          <a:effectLst/>
                        </a:rPr>
                        <a:t> </a:t>
                      </a:r>
                      <a:r>
                        <a:rPr lang="ru-RU" sz="1600" b="0" dirty="0" smtClean="0">
                          <a:solidFill>
                            <a:schemeClr val="tx2"/>
                          </a:solidFill>
                          <a:effectLst/>
                        </a:rPr>
                        <a:t>Сервис</a:t>
                      </a:r>
                      <a:endParaRPr lang="ru-RU" sz="1600" b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2"/>
                          </a:solidFill>
                          <a:effectLst/>
                        </a:rPr>
                        <a:t>МТС</a:t>
                      </a:r>
                      <a:endParaRPr lang="ru-RU" sz="1600" b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2"/>
                          </a:solidFill>
                          <a:effectLst/>
                        </a:rPr>
                        <a:t>Билайн</a:t>
                      </a:r>
                      <a:endParaRPr lang="ru-RU" sz="1600" b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2"/>
                          </a:solidFill>
                          <a:effectLst/>
                        </a:rPr>
                        <a:t>Мегафон</a:t>
                      </a:r>
                      <a:endParaRPr lang="ru-RU" sz="1600" b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600" b="0" dirty="0">
                          <a:solidFill>
                            <a:schemeClr val="tx2"/>
                          </a:solidFill>
                          <a:effectLst/>
                        </a:rPr>
                        <a:t>TELE2</a:t>
                      </a:r>
                      <a:endParaRPr lang="ru-RU" sz="1600" b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</a:tr>
              <a:tr h="312654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2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SMS-</a:t>
                      </a:r>
                      <a:r>
                        <a:rPr lang="ru-RU" sz="12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рассылка</a:t>
                      </a:r>
                      <a:endParaRPr lang="ru-RU" sz="12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</a:tr>
              <a:tr h="312654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Корпоративная </a:t>
                      </a:r>
                      <a:r>
                        <a:rPr lang="ru-RU" sz="1200" b="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моб.связь</a:t>
                      </a:r>
                      <a:endParaRPr lang="ru-RU" sz="12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</a:tr>
              <a:tr h="312654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Мобильный интернет</a:t>
                      </a:r>
                      <a:endParaRPr lang="ru-RU" sz="12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</a:tr>
              <a:tr h="312654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Телефония 8-800</a:t>
                      </a:r>
                      <a:endParaRPr lang="ru-RU" sz="12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 </a:t>
                      </a:r>
                      <a:endParaRPr lang="ru-RU" sz="18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</a:tr>
              <a:tr h="359579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Аренда каналов связи в ЦОД</a:t>
                      </a:r>
                      <a:endParaRPr lang="ru-RU" sz="12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 </a:t>
                      </a:r>
                      <a:endParaRPr lang="ru-RU" sz="18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</a:tr>
              <a:tr h="312654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Облачные решения</a:t>
                      </a:r>
                      <a:endParaRPr lang="ru-RU" sz="12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 </a:t>
                      </a:r>
                      <a:endParaRPr lang="ru-RU" sz="18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</a:tr>
              <a:tr h="312654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200" b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M2M </a:t>
                      </a:r>
                      <a:r>
                        <a:rPr lang="ru-RU" sz="1200" b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и мониторинг</a:t>
                      </a:r>
                      <a:endParaRPr lang="ru-RU" sz="1200" b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 </a:t>
                      </a:r>
                      <a:endParaRPr lang="ru-RU" sz="18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</a:tr>
              <a:tr h="312654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Отраслевые решения</a:t>
                      </a:r>
                      <a:endParaRPr lang="ru-RU" sz="12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 </a:t>
                      </a:r>
                      <a:endParaRPr lang="ru-RU" sz="18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</a:tr>
              <a:tr h="359579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Специальное оборудование</a:t>
                      </a:r>
                      <a:endParaRPr lang="ru-RU" sz="12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 </a:t>
                      </a:r>
                      <a:endParaRPr lang="ru-RU" sz="18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</a:tr>
              <a:tr h="312654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Электронная подпись</a:t>
                      </a:r>
                      <a:endParaRPr lang="ru-RU" sz="12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 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 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</a:tr>
              <a:tr h="312654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Система интеграция</a:t>
                      </a:r>
                      <a:endParaRPr lang="ru-RU" sz="12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 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 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</a:tr>
              <a:tr h="312654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Корпоративный </a:t>
                      </a:r>
                      <a:r>
                        <a:rPr lang="en-GB" sz="12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Good-</a:t>
                      </a:r>
                      <a:r>
                        <a:rPr lang="ru-RU" sz="1200" b="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ок</a:t>
                      </a:r>
                      <a:endParaRPr lang="ru-RU" sz="12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 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 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</a:tr>
              <a:tr h="312654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Единый короткий номер</a:t>
                      </a:r>
                      <a:endParaRPr lang="ru-RU" sz="12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 </a:t>
                      </a:r>
                      <a:endParaRPr lang="ru-RU" sz="18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 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 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</a:tr>
              <a:tr h="456531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Управление корпоративной связью</a:t>
                      </a:r>
                      <a:endParaRPr lang="ru-RU" sz="12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 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</a:tr>
              <a:tr h="312654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Анализатор счёта</a:t>
                      </a:r>
                      <a:endParaRPr lang="ru-RU" sz="12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 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 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</a:tr>
              <a:tr h="312654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Мультифон</a:t>
                      </a:r>
                      <a:endParaRPr lang="ru-RU" sz="12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 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 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 </a:t>
                      </a:r>
                      <a:endParaRPr lang="ru-RU" sz="18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779" marR="58779" marT="0" marB="0" anchor="ctr"/>
                </a:tc>
              </a:tr>
            </a:tbl>
          </a:graphicData>
        </a:graphic>
      </p:graphicFrame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055802"/>
          </a:xfrm>
        </p:spPr>
        <p:txBody>
          <a:bodyPr>
            <a:noAutofit/>
          </a:bodyPr>
          <a:lstStyle/>
          <a:p>
            <a:r>
              <a:rPr lang="ru-RU" sz="2800" dirty="0"/>
              <a:t/>
            </a:r>
            <a:br>
              <a:rPr lang="ru-RU" sz="2800" dirty="0"/>
            </a:br>
            <a:r>
              <a:rPr lang="ru-RU" sz="2800" dirty="0" smtClean="0"/>
              <a:t>Сравнение предоставляемых сервисов основных игроков телекоммуникационного рынка в России</a:t>
            </a:r>
            <a:r>
              <a:rPr lang="ru-RU" sz="2800" dirty="0"/>
              <a:t/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0" y="6608650"/>
            <a:ext cx="9906000" cy="249349"/>
          </a:xfrm>
        </p:spPr>
        <p:txBody>
          <a:bodyPr/>
          <a:lstStyle/>
          <a:p>
            <a:pPr marL="0" indent="0">
              <a:buNone/>
            </a:pPr>
            <a:r>
              <a:rPr lang="ru-RU" sz="1100" i="1" dirty="0" smtClean="0">
                <a:solidFill>
                  <a:schemeClr val="bg1"/>
                </a:solidFill>
              </a:rPr>
              <a:t>Источники:</a:t>
            </a:r>
            <a:endParaRPr lang="en-US" sz="1100" i="1" dirty="0">
              <a:solidFill>
                <a:schemeClr val="bg1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185DEA-EC0A-466A-86BE-ACF8F0BABD7C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27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val="3869344211"/>
              </p:ext>
            </p:extLst>
          </p:nvPr>
        </p:nvGraphicFramePr>
        <p:xfrm>
          <a:off x="629920" y="1055803"/>
          <a:ext cx="8625840" cy="26932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Диаграмма 4"/>
          <p:cNvGraphicFramePr/>
          <p:nvPr>
            <p:extLst>
              <p:ext uri="{D42A27DB-BD31-4B8C-83A1-F6EECF244321}">
                <p14:modId xmlns:p14="http://schemas.microsoft.com/office/powerpoint/2010/main" val="675142521"/>
              </p:ext>
            </p:extLst>
          </p:nvPr>
        </p:nvGraphicFramePr>
        <p:xfrm>
          <a:off x="558800" y="3749039"/>
          <a:ext cx="8696960" cy="2859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тоимость федеральных корзин основных конкурентов рынка телекоммуникаций России</a:t>
            </a:r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1100" i="1" dirty="0" smtClean="0">
                <a:solidFill>
                  <a:schemeClr val="bg1"/>
                </a:solidFill>
              </a:rPr>
              <a:t>Источники:</a:t>
            </a:r>
            <a:endParaRPr lang="en-US" sz="1100" i="1" dirty="0">
              <a:solidFill>
                <a:schemeClr val="bg1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185DEA-EC0A-466A-86BE-ACF8F0BABD7C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688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36969848"/>
              </p:ext>
            </p:extLst>
          </p:nvPr>
        </p:nvGraphicFramePr>
        <p:xfrm>
          <a:off x="-2" y="1055809"/>
          <a:ext cx="9906002" cy="5552848"/>
        </p:xfrm>
        <a:graphic>
          <a:graphicData uri="http://schemas.openxmlformats.org/drawingml/2006/table">
            <a:tbl>
              <a:tblPr firstRow="1" firstCol="1" bandRow="1">
                <a:tableStyleId>{D27102A9-8310-4765-A935-A1911B00CA55}</a:tableStyleId>
              </a:tblPr>
              <a:tblGrid>
                <a:gridCol w="4663442"/>
                <a:gridCol w="1747520"/>
                <a:gridCol w="1747520"/>
                <a:gridCol w="1747520"/>
              </a:tblGrid>
              <a:tr h="39663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Отрасль</a:t>
                      </a:r>
                      <a:endParaRPr lang="en-US" sz="1600" b="0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solidFill>
                            <a:schemeClr val="tx2"/>
                          </a:solidFill>
                          <a:effectLst/>
                        </a:rPr>
                        <a:t>МТС</a:t>
                      </a:r>
                      <a:endParaRPr lang="ru-RU" sz="1600" b="0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solidFill>
                            <a:schemeClr val="tx2"/>
                          </a:solidFill>
                          <a:effectLst/>
                        </a:rPr>
                        <a:t>Билайн</a:t>
                      </a:r>
                      <a:endParaRPr lang="ru-RU" sz="1600" b="0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solidFill>
                            <a:schemeClr val="tx2"/>
                          </a:solidFill>
                          <a:effectLst/>
                        </a:rPr>
                        <a:t>Мегафон</a:t>
                      </a:r>
                      <a:endParaRPr lang="ru-RU" sz="1600" b="0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39663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Интернет-магазины</a:t>
                      </a:r>
                      <a:endParaRPr lang="ru-RU" sz="1600" b="0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800" b="0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en-US" sz="1800" b="0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800" b="0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39663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Такси и служба доставки</a:t>
                      </a:r>
                      <a:endParaRPr lang="ru-RU" sz="1600" b="0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en-US" sz="1800" b="0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en-US" sz="1800" b="0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800" b="0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39663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Гостиницы и туризм</a:t>
                      </a:r>
                      <a:endParaRPr lang="ru-RU" sz="1600" b="0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800" b="0" i="0" u="none" strike="noStrike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en-US" sz="1800" b="0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800" b="0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39663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Отдых и развлечения</a:t>
                      </a:r>
                      <a:endParaRPr lang="ru-RU" sz="1600" b="0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800" b="0" i="0" u="none" strike="noStrike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en-US" sz="1800" b="0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800" b="0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39663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Оптовая и розничная торговля</a:t>
                      </a:r>
                      <a:endParaRPr lang="ru-RU" sz="1600" b="0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en-US" sz="1800" b="0" i="0" u="none" strike="noStrike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en-US" sz="1800" b="0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en-US" sz="1800" b="0" i="0" u="none" strike="noStrike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39663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Рестораны и общепит</a:t>
                      </a:r>
                      <a:endParaRPr lang="ru-RU" sz="1600" b="0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800" b="0" i="0" u="none" strike="noStrike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en-US" sz="1800" b="0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en-US" sz="1800" b="0" i="0" u="none" strike="noStrike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39663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Банки, страхование и финансы</a:t>
                      </a:r>
                      <a:endParaRPr lang="ru-RU" sz="1600" b="0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en-US" sz="1800" b="0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en-US" sz="1800" b="0" i="0" u="none" strike="noStrike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800" b="0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39663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Недвижимость</a:t>
                      </a:r>
                      <a:endParaRPr lang="ru-RU" sz="1600" b="0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en-US" sz="1800" b="0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en-US" sz="1800" b="0" i="0" u="none" strike="noStrike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800" b="0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39663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Транспорт и логистика</a:t>
                      </a:r>
                      <a:endParaRPr lang="ru-RU" sz="1600" b="0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en-US" sz="1800" b="0" i="0" u="none" strike="noStrike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en-US" sz="1800" b="0" i="0" u="none" strike="noStrike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en-US" sz="1800" b="0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39663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Технологии и </a:t>
                      </a:r>
                      <a:r>
                        <a:rPr lang="en-US" sz="1600" b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IT</a:t>
                      </a:r>
                      <a:endParaRPr lang="en-US" sz="1600" b="0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en-US" sz="1800" b="0" i="0" u="none" strike="noStrike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en-US" sz="1800" b="0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800" b="0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39663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Строительство</a:t>
                      </a:r>
                      <a:endParaRPr lang="ru-RU" sz="1600" b="0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en-US" sz="1800" b="0" i="0" u="none" strike="noStrike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en-US" sz="1800" b="0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800" b="0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39663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Безопасность</a:t>
                      </a:r>
                      <a:endParaRPr lang="ru-RU" sz="1600" b="0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en-US" sz="1800" b="0" i="0" u="none" strike="noStrike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en-US" sz="1800" b="0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800" b="0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  <a:tr h="39663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Промышленность</a:t>
                      </a:r>
                      <a:endParaRPr lang="ru-RU" sz="1600" b="0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800" b="0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en-US" sz="1800" b="0" i="0" u="none" strike="noStrike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</a:rPr>
                        <a:t>+</a:t>
                      </a:r>
                      <a:endParaRPr lang="en-US" sz="1800" b="0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</a:tr>
            </a:tbl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dirty="0" smtClean="0"/>
              <a:t>Сравнение отраслевых решений </a:t>
            </a:r>
            <a:r>
              <a:rPr lang="ru-RU" sz="2800" dirty="0"/>
              <a:t>для бизнеса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1100" i="1" dirty="0" smtClean="0">
                <a:solidFill>
                  <a:schemeClr val="bg1"/>
                </a:solidFill>
              </a:rPr>
              <a:t>Источники:</a:t>
            </a:r>
            <a:endParaRPr lang="en-US" sz="1100" i="1" dirty="0">
              <a:solidFill>
                <a:schemeClr val="bg1"/>
              </a:solidFill>
            </a:endParaRPr>
          </a:p>
        </p:txBody>
      </p:sp>
      <p:sp>
        <p:nvSpPr>
          <p:cNvPr id="11" name="Номер слайда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185DEA-EC0A-466A-86BE-ACF8F0BABD7C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3216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1385337"/>
              </p:ext>
            </p:extLst>
          </p:nvPr>
        </p:nvGraphicFramePr>
        <p:xfrm>
          <a:off x="-1" y="1055800"/>
          <a:ext cx="9906000" cy="5568070"/>
        </p:xfrm>
        <a:graphic>
          <a:graphicData uri="http://schemas.openxmlformats.org/drawingml/2006/table">
            <a:tbl>
              <a:tblPr firstRow="1" firstCol="1" bandRow="1">
                <a:tableStyleId>{D27102A9-8310-4765-A935-A1911B00CA55}</a:tableStyleId>
              </a:tblPr>
              <a:tblGrid>
                <a:gridCol w="1981200"/>
                <a:gridCol w="1981200"/>
                <a:gridCol w="1981200"/>
                <a:gridCol w="1981200"/>
                <a:gridCol w="1981200"/>
              </a:tblGrid>
              <a:tr h="198905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Показатель</a:t>
                      </a:r>
                      <a:endParaRPr lang="ru-RU" sz="1600" b="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Норм.</a:t>
                      </a:r>
                      <a:r>
                        <a:rPr lang="ru-RU" sz="1400" b="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т</a:t>
                      </a:r>
                      <a:r>
                        <a:rPr lang="ru-RU" sz="1400" b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ребования</a:t>
                      </a:r>
                      <a:endParaRPr lang="ru-RU" sz="1600" b="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«Билайн»</a:t>
                      </a:r>
                      <a:endParaRPr lang="ru-RU" sz="1600" b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«Мегафон»</a:t>
                      </a:r>
                      <a:endParaRPr lang="ru-RU" sz="1600" b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МТС</a:t>
                      </a:r>
                      <a:endParaRPr lang="ru-RU" sz="1600" b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</a:tr>
              <a:tr h="198905">
                <a:tc gridSpan="5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</a:rPr>
                        <a:t>Москва</a:t>
                      </a:r>
                      <a:endParaRPr lang="ru-RU" sz="16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31620">
                <a:tc>
                  <a:txBody>
                    <a:bodyPr/>
                    <a:lstStyle/>
                    <a:p>
                      <a:pPr marL="36000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Доля неуспешных голосовых соединений, %</a:t>
                      </a:r>
                      <a:endParaRPr lang="ru-RU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не более 5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3,9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3,6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4,6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</a:tr>
              <a:tr h="331620">
                <a:tc>
                  <a:txBody>
                    <a:bodyPr/>
                    <a:lstStyle/>
                    <a:p>
                      <a:pPr marL="36000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Доля обрывов голосовых соединений, %</a:t>
                      </a:r>
                      <a:endParaRPr lang="ru-RU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не более 5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0,9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0,7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1,4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</a:tr>
              <a:tr h="331620">
                <a:tc>
                  <a:txBody>
                    <a:bodyPr/>
                    <a:lstStyle/>
                    <a:p>
                      <a:pPr marL="36000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Средняя разборчивость речи на соединение (от 1 до 5)</a:t>
                      </a:r>
                      <a:endParaRPr lang="ru-RU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не менее 2,6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4,2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4,1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4,2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</a:tr>
              <a:tr h="331620">
                <a:tc>
                  <a:txBody>
                    <a:bodyPr/>
                    <a:lstStyle/>
                    <a:p>
                      <a:pPr marL="36000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Доля неразборчивых голосовых соединений, %</a:t>
                      </a:r>
                      <a:endParaRPr lang="ru-RU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не более 9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1,1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1,5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1,4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</a:tr>
              <a:tr h="331620">
                <a:tc>
                  <a:txBody>
                    <a:bodyPr/>
                    <a:lstStyle/>
                    <a:p>
                      <a:pPr marL="36000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Среднее </a:t>
                      </a:r>
                      <a:r>
                        <a:rPr lang="ru-RU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время доставки СМС-сообщения, сек.</a:t>
                      </a:r>
                      <a:endParaRPr lang="ru-RU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+mn-lt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2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2,9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2,4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</a:tr>
              <a:tr h="331620">
                <a:tc>
                  <a:txBody>
                    <a:bodyPr/>
                    <a:lstStyle/>
                    <a:p>
                      <a:pPr marL="36000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Доля неуспешного TCP/IP-соединения, %</a:t>
                      </a:r>
                      <a:endParaRPr lang="ru-RU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не более 6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6,3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4,9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6,8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</a:tr>
              <a:tr h="331620">
                <a:tc>
                  <a:txBody>
                    <a:bodyPr/>
                    <a:lstStyle/>
                    <a:p>
                      <a:pPr marL="36000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Среднее значение скорости передачи данных, Мбит/с</a:t>
                      </a:r>
                      <a:endParaRPr lang="ru-RU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не менее 0,08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2,38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2,45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4,9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</a:tr>
              <a:tr h="331620">
                <a:tc>
                  <a:txBody>
                    <a:bodyPr/>
                    <a:lstStyle/>
                    <a:p>
                      <a:pPr marL="36000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Продолжительность успешной сессии, </a:t>
                      </a:r>
                      <a:r>
                        <a:rPr lang="ru-RU" sz="12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мс</a:t>
                      </a:r>
                      <a:endParaRPr lang="ru-RU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endParaRPr lang="ru-RU" sz="1400">
                        <a:effectLst/>
                        <a:latin typeface="+mn-lt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48,1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45,9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42,1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</a:tr>
              <a:tr h="180741">
                <a:tc gridSpan="5">
                  <a:txBody>
                    <a:bodyPr/>
                    <a:lstStyle/>
                    <a:p>
                      <a:pPr marL="36000"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</a:rPr>
                        <a:t>Санкт-Петербург</a:t>
                      </a:r>
                      <a:endParaRPr lang="ru-RU" sz="14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31620">
                <a:tc>
                  <a:txBody>
                    <a:bodyPr/>
                    <a:lstStyle/>
                    <a:p>
                      <a:pPr marL="36000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Доля неуспешных голосовых соединений, %</a:t>
                      </a:r>
                      <a:endParaRPr lang="ru-RU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не более 5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2,4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3,2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3,4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</a:tr>
              <a:tr h="331620">
                <a:tc>
                  <a:txBody>
                    <a:bodyPr/>
                    <a:lstStyle/>
                    <a:p>
                      <a:pPr marL="36000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Доля обрывов голосовых соединений, %</a:t>
                      </a:r>
                      <a:endParaRPr lang="ru-RU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не более 5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1,5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1,4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1,8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</a:tr>
              <a:tr h="331620">
                <a:tc>
                  <a:txBody>
                    <a:bodyPr/>
                    <a:lstStyle/>
                    <a:p>
                      <a:pPr marL="36000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Средняя разборчивость речи на соединение (от 1 до 5)</a:t>
                      </a:r>
                      <a:endParaRPr lang="ru-RU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не менее 2,6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4,2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4,2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4,2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</a:tr>
              <a:tr h="331620">
                <a:tc>
                  <a:txBody>
                    <a:bodyPr/>
                    <a:lstStyle/>
                    <a:p>
                      <a:pPr marL="36000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Доля неразборчивых голосовых соединений, %</a:t>
                      </a:r>
                      <a:endParaRPr lang="ru-RU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не более 9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0,7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1,5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1,3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</a:tr>
              <a:tr h="331620">
                <a:tc>
                  <a:txBody>
                    <a:bodyPr/>
                    <a:lstStyle/>
                    <a:p>
                      <a:pPr marL="36000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Доля неуспешного TCP/IP-соединения, %</a:t>
                      </a:r>
                      <a:endParaRPr lang="ru-RU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не более 6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7,5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6,7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6,5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</a:tr>
              <a:tr h="331620">
                <a:tc>
                  <a:txBody>
                    <a:bodyPr/>
                    <a:lstStyle/>
                    <a:p>
                      <a:pPr marL="36000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Среднее значение скорости передачи данных, Мбит/с</a:t>
                      </a:r>
                      <a:endParaRPr lang="ru-RU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не менее 0,08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1,42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1,61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1,43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</a:tr>
              <a:tr h="331620">
                <a:tc>
                  <a:txBody>
                    <a:bodyPr/>
                    <a:lstStyle/>
                    <a:p>
                      <a:pPr marL="36000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Продолжительность успешной сессии, </a:t>
                      </a:r>
                      <a:r>
                        <a:rPr lang="ru-RU" sz="12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мс</a:t>
                      </a:r>
                      <a:endParaRPr lang="ru-RU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endParaRPr lang="ru-RU" sz="1400">
                        <a:effectLst/>
                        <a:latin typeface="+mn-lt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32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+mn-lt"/>
                        </a:rPr>
                        <a:t>96</a:t>
                      </a:r>
                      <a:endParaRPr lang="ru-RU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</a:rPr>
                        <a:t>80</a:t>
                      </a:r>
                      <a:endParaRPr lang="ru-RU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2636" marR="12636" marT="12636" marB="12636" anchor="ctr"/>
                </a:tc>
              </a:tr>
            </a:tbl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Качество </a:t>
            </a:r>
            <a:r>
              <a:rPr lang="ru-RU" dirty="0"/>
              <a:t>связи сотовых операторов в Москве и </a:t>
            </a:r>
            <a:r>
              <a:rPr lang="ru-RU" dirty="0" smtClean="0"/>
              <a:t>Санкт-Петербурге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1100" i="1" dirty="0" smtClean="0">
                <a:solidFill>
                  <a:schemeClr val="bg1"/>
                </a:solidFill>
              </a:rPr>
              <a:t>Источники: </a:t>
            </a:r>
            <a:r>
              <a:rPr lang="ru-RU" sz="1100" i="1" dirty="0" err="1" smtClean="0">
                <a:solidFill>
                  <a:schemeClr val="bg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Роскомнадзор</a:t>
            </a:r>
            <a:endParaRPr lang="ru-RU" sz="1600" dirty="0">
              <a:solidFill>
                <a:schemeClr val="bg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185DEA-EC0A-466A-86BE-ACF8F0BABD7C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3658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4138" y="5201920"/>
            <a:ext cx="9729164" cy="1283721"/>
          </a:xfrm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>
            <a:normAutofit/>
          </a:bodyPr>
          <a:lstStyle/>
          <a:p>
            <a:pPr marL="263525" indent="-263525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ü"/>
              <a:tabLst>
                <a:tab pos="538163" algn="l"/>
              </a:tabLst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«МегаФон» стал лучшим оператором по качеству голосовой связи в Москве, на втором месте с незначительным отставанием — </a:t>
            </a:r>
            <a:r>
              <a:rPr lang="ru-RU" sz="16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le2.</a:t>
            </a:r>
          </a:p>
          <a:p>
            <a:pPr marL="263525" indent="-263525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ü"/>
              <a:tabLst>
                <a:tab pos="538163" algn="l"/>
              </a:tabLst>
            </a:pPr>
            <a:r>
              <a:rPr lang="ru-RU" sz="1600" dirty="0" smtClean="0"/>
              <a:t>Минимум </a:t>
            </a:r>
            <a:r>
              <a:rPr lang="ru-RU" sz="1600" dirty="0"/>
              <a:t>блокировок и обрывов звонков продемонстрировал оператор «МегаФон», на втором месте </a:t>
            </a:r>
            <a:r>
              <a:rPr lang="ru-RU" sz="1600" dirty="0" smtClean="0"/>
              <a:t>—бренд Tele2. Третье </a:t>
            </a:r>
            <a:r>
              <a:rPr lang="ru-RU" sz="1600" dirty="0"/>
              <a:t>место по качеству связи занял «ВымпелКом» (бренд «Билайн»), последнее </a:t>
            </a:r>
            <a:r>
              <a:rPr lang="ru-RU" sz="1600" dirty="0" smtClean="0"/>
              <a:t>—оператор</a:t>
            </a:r>
            <a:r>
              <a:rPr lang="ru-RU" sz="1600" dirty="0"/>
              <a:t> </a:t>
            </a:r>
            <a:r>
              <a:rPr lang="ru-RU" sz="1600" dirty="0" smtClean="0"/>
              <a:t>МТС.</a:t>
            </a:r>
            <a:endParaRPr lang="ru-RU" sz="1600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1100" i="1" dirty="0" smtClean="0">
                <a:solidFill>
                  <a:schemeClr val="bg1"/>
                </a:solidFill>
              </a:rPr>
              <a:t>Источники: </a:t>
            </a:r>
            <a:r>
              <a:rPr lang="en-US" sz="1100" i="1" dirty="0" smtClean="0">
                <a:solidFill>
                  <a:schemeClr val="bg1"/>
                </a:solidFill>
              </a:rPr>
              <a:t>Telecom </a:t>
            </a:r>
            <a:r>
              <a:rPr lang="en-US" sz="1100" i="1" dirty="0">
                <a:solidFill>
                  <a:schemeClr val="bg1"/>
                </a:solidFill>
              </a:rPr>
              <a:t>Daily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9921005"/>
              </p:ext>
            </p:extLst>
          </p:nvPr>
        </p:nvGraphicFramePr>
        <p:xfrm>
          <a:off x="0" y="1055802"/>
          <a:ext cx="9906001" cy="4023107"/>
        </p:xfrm>
        <a:graphic>
          <a:graphicData uri="http://schemas.openxmlformats.org/drawingml/2006/table">
            <a:tbl>
              <a:tblPr>
                <a:tableStyleId>{D27102A9-8310-4765-A935-A1911B00CA55}</a:tableStyleId>
              </a:tblPr>
              <a:tblGrid>
                <a:gridCol w="924560"/>
                <a:gridCol w="1076960"/>
                <a:gridCol w="1005840"/>
                <a:gridCol w="2306320"/>
                <a:gridCol w="2001520"/>
                <a:gridCol w="1381760"/>
                <a:gridCol w="1209041"/>
              </a:tblGrid>
              <a:tr h="18178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 </a:t>
                      </a:r>
                      <a:r>
                        <a:rPr lang="ru-RU" sz="1400" u="none" strike="noStrike" dirty="0" smtClean="0">
                          <a:effectLst/>
                        </a:rPr>
                        <a:t>Операто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Количество</a:t>
                      </a:r>
                    </a:p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 </a:t>
                      </a:r>
                      <a:r>
                        <a:rPr lang="ru-RU" sz="1400" u="none" strike="noStrike" dirty="0">
                          <a:effectLst/>
                        </a:rPr>
                        <a:t>блокировок звонков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Количество обрывов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«Среднее </a:t>
                      </a:r>
                      <a:r>
                        <a:rPr lang="ru-RU" sz="1400" u="none" strike="noStrike" dirty="0">
                          <a:effectLst/>
                        </a:rPr>
                        <a:t>время </a:t>
                      </a:r>
                      <a:r>
                        <a:rPr lang="ru-RU" sz="1400" u="none" strike="noStrike" dirty="0" smtClean="0">
                          <a:effectLst/>
                        </a:rPr>
                        <a:t>установления</a:t>
                      </a:r>
                    </a:p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 </a:t>
                      </a:r>
                      <a:r>
                        <a:rPr lang="ru-RU" sz="1400" u="none" strike="noStrike" dirty="0">
                          <a:effectLst/>
                        </a:rPr>
                        <a:t>соединения» представляет собой </a:t>
                      </a:r>
                      <a:endParaRPr lang="ru-RU" sz="1400" u="none" strike="noStrike" dirty="0" smtClean="0">
                        <a:effectLst/>
                      </a:endParaRPr>
                    </a:p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сумму </a:t>
                      </a:r>
                      <a:r>
                        <a:rPr lang="ru-RU" sz="1400" u="none" strike="noStrike" dirty="0">
                          <a:effectLst/>
                        </a:rPr>
                        <a:t>расчетов по всем </a:t>
                      </a:r>
                      <a:endParaRPr lang="ru-RU" sz="1400" u="none" strike="noStrike" dirty="0" smtClean="0">
                        <a:effectLst/>
                      </a:endParaRPr>
                    </a:p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технологиям </a:t>
                      </a:r>
                      <a:r>
                        <a:rPr lang="ru-RU" sz="1400" u="none" strike="noStrike" dirty="0">
                          <a:effectLst/>
                        </a:rPr>
                        <a:t>GSM, 3G, LTE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По средней скорости передачи </a:t>
                      </a:r>
                      <a:endParaRPr lang="ru-RU" sz="1400" u="none" strike="noStrike" dirty="0" smtClean="0">
                        <a:effectLst/>
                      </a:endParaRPr>
                    </a:p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данных </a:t>
                      </a:r>
                      <a:r>
                        <a:rPr lang="ru-RU" sz="1400" u="none" strike="noStrike" dirty="0">
                          <a:effectLst/>
                        </a:rPr>
                        <a:t>к абоненту в сетях LTE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По средней скорости передачи данных от абонента в сетях LTE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Загрузка данных </a:t>
                      </a:r>
                      <a:r>
                        <a:rPr lang="ru-RU" sz="1400" u="none" strike="noStrike" dirty="0" err="1">
                          <a:effectLst/>
                        </a:rPr>
                        <a:t>Speedtest</a:t>
                      </a:r>
                      <a:r>
                        <a:rPr lang="ru-RU" sz="1400" u="none" strike="noStrike" dirty="0">
                          <a:effectLst/>
                        </a:rPr>
                        <a:t> по </a:t>
                      </a:r>
                      <a:r>
                        <a:rPr lang="ru-RU" sz="1400" u="none" strike="noStrike" dirty="0" err="1" smtClean="0">
                          <a:effectLst/>
                        </a:rPr>
                        <a:t>москов-скому</a:t>
                      </a:r>
                      <a:r>
                        <a:rPr lang="ru-RU" sz="1400" u="none" strike="noStrike" dirty="0" smtClean="0">
                          <a:effectLst/>
                        </a:rPr>
                        <a:t> </a:t>
                      </a:r>
                      <a:r>
                        <a:rPr lang="ru-RU" sz="1400" u="none" strike="noStrike" dirty="0">
                          <a:effectLst/>
                        </a:rPr>
                        <a:t>региону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5513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Мегафон</a:t>
                      </a:r>
                      <a:endParaRPr lang="ru-RU" sz="1600" b="0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 из 54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около 5 тыс. </a:t>
                      </a:r>
                      <a:r>
                        <a:rPr lang="ru-RU" sz="1400" u="none" strike="noStrike" dirty="0" err="1">
                          <a:effectLst/>
                        </a:rPr>
                        <a:t>мс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снизилась с 13,9 до 11,7 Мб/с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9,3 Мб/с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4,7 Мб/с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</a:tr>
              <a:tr h="5513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МТС</a:t>
                      </a:r>
                      <a:endParaRPr lang="ru-RU" sz="1600" b="0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8 из 538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0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6 тыс. </a:t>
                      </a:r>
                      <a:r>
                        <a:rPr lang="ru-RU" sz="1400" u="none" strike="noStrike" dirty="0" err="1">
                          <a:effectLst/>
                        </a:rPr>
                        <a:t>мс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снизилась с 13,3 до 12,8 Мб/с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9,5 Мб/с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7,5 Мб/с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5513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Билайн</a:t>
                      </a:r>
                      <a:endParaRPr lang="ru-RU" sz="1600" b="0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2 из 55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около 5 тыс. </a:t>
                      </a:r>
                      <a:r>
                        <a:rPr lang="ru-RU" sz="1400" u="none" strike="noStrike" dirty="0" err="1">
                          <a:effectLst/>
                        </a:rPr>
                        <a:t>мс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выросла с 10,6 до 11,4 Мб/с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3,3 Мб/с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5,4 Мб/с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</a:tr>
              <a:tr h="551306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Tele2</a:t>
                      </a:r>
                      <a:endParaRPr lang="en-GB" sz="1600" b="0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2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около 3,8 тыс. </a:t>
                      </a:r>
                      <a:r>
                        <a:rPr lang="ru-RU" sz="1400" u="none" strike="noStrike" dirty="0" err="1">
                          <a:effectLst/>
                        </a:rPr>
                        <a:t>мс</a:t>
                      </a:r>
                      <a:r>
                        <a:rPr lang="ru-RU" sz="1400" u="none" strike="noStrike" dirty="0">
                          <a:effectLst/>
                        </a:rPr>
                        <a:t> (нет GSM)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1,5 Мб/с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8,5 Мб/с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6,7 Мб/с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22" marR="6022" marT="6022" marB="0" anchor="ctr">
                    <a:lnL w="190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</a:tbl>
          </a:graphicData>
        </a:graphic>
      </p:graphicFrame>
      <p:sp>
        <p:nvSpPr>
          <p:cNvPr id="8" name="Номер слайда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185DEA-EC0A-466A-86BE-ACF8F0BABD7C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равнение качества связ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737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0752663"/>
              </p:ext>
            </p:extLst>
          </p:nvPr>
        </p:nvGraphicFramePr>
        <p:xfrm>
          <a:off x="0" y="1055803"/>
          <a:ext cx="9906000" cy="2002357"/>
        </p:xfrm>
        <a:graphic>
          <a:graphicData uri="http://schemas.openxmlformats.org/drawingml/2006/table">
            <a:tbl>
              <a:tblPr firstRow="1" firstCol="1" bandRow="1">
                <a:tableStyleId>{C083E6E3-FA7D-4D7B-A595-EF9225AFEA82}</a:tableStyleId>
              </a:tblPr>
              <a:tblGrid>
                <a:gridCol w="2046347"/>
                <a:gridCol w="2952636"/>
                <a:gridCol w="2452983"/>
                <a:gridCol w="2454034"/>
              </a:tblGrid>
              <a:tr h="52460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Место</a:t>
                      </a:r>
                      <a:endParaRPr lang="ru-RU" sz="1600" b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Название компании</a:t>
                      </a:r>
                      <a:endParaRPr lang="ru-RU" sz="1600" b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Страна</a:t>
                      </a:r>
                      <a:endParaRPr lang="ru-RU" sz="1600" b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Количество </a:t>
                      </a:r>
                      <a:r>
                        <a:rPr lang="ru-RU" sz="1600" dirty="0" smtClean="0">
                          <a:effectLst/>
                        </a:rPr>
                        <a:t>абонентов,  млн</a:t>
                      </a:r>
                      <a:r>
                        <a:rPr lang="ru-RU" sz="1600" baseline="0" dirty="0" smtClean="0">
                          <a:effectLst/>
                        </a:rPr>
                        <a:t> </a:t>
                      </a:r>
                      <a:r>
                        <a:rPr lang="ru-RU" sz="1600" dirty="0" smtClean="0">
                          <a:effectLst/>
                        </a:rPr>
                        <a:t>чел.</a:t>
                      </a:r>
                      <a:endParaRPr lang="ru-RU" sz="1600" b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9555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1</a:t>
                      </a:r>
                      <a:endParaRPr lang="ru-RU" sz="16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China mobile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Китай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720,3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9555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2</a:t>
                      </a:r>
                      <a:endParaRPr lang="ru-RU" sz="16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Vodafone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Великобритания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403,9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9555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3</a:t>
                      </a:r>
                      <a:endParaRPr lang="ru-RU" sz="16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America </a:t>
                      </a:r>
                      <a:r>
                        <a:rPr lang="en-GB" sz="1400" dirty="0" err="1">
                          <a:effectLst/>
                        </a:rPr>
                        <a:t>Movil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Мексика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261,6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9555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…</a:t>
                      </a:r>
                      <a:endParaRPr lang="ru-RU" sz="16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…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…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..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9555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18</a:t>
                      </a:r>
                      <a:endParaRPr lang="ru-RU" sz="16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MTC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 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11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9068767"/>
              </p:ext>
            </p:extLst>
          </p:nvPr>
        </p:nvGraphicFramePr>
        <p:xfrm>
          <a:off x="0" y="3134066"/>
          <a:ext cx="9906000" cy="3484960"/>
        </p:xfrm>
        <a:graphic>
          <a:graphicData uri="http://schemas.openxmlformats.org/drawingml/2006/table">
            <a:tbl>
              <a:tblPr firstRow="1" firstCol="1" bandRow="1">
                <a:tableStyleId>{D27102A9-8310-4765-A935-A1911B00CA55}</a:tableStyleId>
              </a:tblPr>
              <a:tblGrid>
                <a:gridCol w="1981200"/>
                <a:gridCol w="1981200"/>
                <a:gridCol w="1981200"/>
                <a:gridCol w="1981200"/>
                <a:gridCol w="1981200"/>
              </a:tblGrid>
              <a:tr h="242180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</a:rPr>
                        <a:t> </a:t>
                      </a:r>
                      <a:r>
                        <a:rPr lang="ru-RU" sz="1600" b="0" dirty="0" smtClean="0">
                          <a:solidFill>
                            <a:schemeClr val="tx2"/>
                          </a:solidFill>
                          <a:effectLst/>
                        </a:rPr>
                        <a:t>Сервис</a:t>
                      </a:r>
                      <a:endParaRPr lang="ru-RU" sz="1400" b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600" b="0" dirty="0">
                          <a:solidFill>
                            <a:schemeClr val="tx2"/>
                          </a:solidFill>
                          <a:effectLst/>
                        </a:rPr>
                        <a:t>China Mobile</a:t>
                      </a:r>
                      <a:endParaRPr lang="ru-RU" sz="1600" b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600" b="0" dirty="0">
                          <a:solidFill>
                            <a:schemeClr val="tx2"/>
                          </a:solidFill>
                          <a:effectLst/>
                        </a:rPr>
                        <a:t>Vodafone</a:t>
                      </a:r>
                      <a:endParaRPr lang="ru-RU" sz="1600" b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600" b="0">
                          <a:solidFill>
                            <a:schemeClr val="tx2"/>
                          </a:solidFill>
                          <a:effectLst/>
                        </a:rPr>
                        <a:t>Bharti Airtel</a:t>
                      </a:r>
                      <a:endParaRPr lang="ru-RU" sz="1600" b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600" b="0" dirty="0">
                          <a:solidFill>
                            <a:schemeClr val="tx2"/>
                          </a:solidFill>
                          <a:effectLst/>
                        </a:rPr>
                        <a:t>Telefonica</a:t>
                      </a:r>
                      <a:endParaRPr lang="ru-RU" sz="1600" b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</a:tr>
              <a:tr h="245120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</a:rPr>
                        <a:t>Мобильная связь</a:t>
                      </a:r>
                      <a:endParaRPr lang="ru-RU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+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+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+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+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</a:tr>
              <a:tr h="423815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</a:rPr>
                        <a:t>Междугородная и международная связь</a:t>
                      </a:r>
                      <a:endParaRPr lang="ru-RU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+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+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+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+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</a:tr>
              <a:tr h="245120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</a:rPr>
                        <a:t>SMS/MMS</a:t>
                      </a:r>
                      <a:endParaRPr lang="ru-RU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+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+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+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+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</a:tr>
              <a:tr h="245120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</a:rPr>
                        <a:t>IP-VPN</a:t>
                      </a:r>
                      <a:endParaRPr lang="ru-RU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+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 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 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</a:tr>
              <a:tr h="245120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</a:rPr>
                        <a:t>Интернет</a:t>
                      </a:r>
                      <a:endParaRPr lang="ru-RU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+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+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+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+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</a:tr>
              <a:tr h="245120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</a:rPr>
                        <a:t>М2М</a:t>
                      </a:r>
                      <a:endParaRPr lang="ru-RU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 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+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+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+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</a:tr>
              <a:tr h="245120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</a:rPr>
                        <a:t>Конференц-связь</a:t>
                      </a:r>
                      <a:endParaRPr lang="ru-RU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 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+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</a:tr>
              <a:tr h="245120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</a:rPr>
                        <a:t>Облачные технологии</a:t>
                      </a:r>
                      <a:endParaRPr lang="ru-RU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 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+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+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+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</a:tr>
              <a:tr h="245120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</a:rPr>
                        <a:t>Цифровые услуги</a:t>
                      </a:r>
                      <a:endParaRPr lang="ru-RU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 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 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+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 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</a:tr>
              <a:tr h="423815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</a:rPr>
                        <a:t>Центр обработки данных</a:t>
                      </a:r>
                      <a:endParaRPr lang="ru-RU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 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+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</a:tr>
              <a:tr h="423815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</a:rPr>
                        <a:t>Мобильный документооборот</a:t>
                      </a:r>
                      <a:endParaRPr lang="ru-RU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 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+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+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5" marR="68575" marT="0" marB="0" anchor="ctr"/>
                </a:tc>
              </a:tr>
            </a:tbl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2800" dirty="0"/>
              <a:t/>
            </a:r>
            <a:br>
              <a:rPr lang="ru-RU" sz="2800" dirty="0"/>
            </a:br>
            <a:r>
              <a:rPr lang="ru-RU" sz="3100" dirty="0"/>
              <a:t>Международные конкуренты</a:t>
            </a:r>
            <a:r>
              <a:rPr lang="ru-RU" sz="2800" dirty="0"/>
              <a:t/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1100" i="1" dirty="0" smtClean="0">
                <a:solidFill>
                  <a:schemeClr val="bg1"/>
                </a:solidFill>
              </a:rPr>
              <a:t>Источники:</a:t>
            </a:r>
            <a:endParaRPr lang="en-US" sz="1100" i="1" dirty="0">
              <a:solidFill>
                <a:schemeClr val="bg1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978851" y="1916990"/>
            <a:ext cx="8492710" cy="383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185DEA-EC0A-466A-86BE-ACF8F0BABD7C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2165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Рост </a:t>
            </a:r>
            <a:r>
              <a:rPr lang="ru-RU" dirty="0"/>
              <a:t>российского рынка мобильной связи замедляется из-за отрицательной динамики традиционных </a:t>
            </a:r>
            <a:r>
              <a:rPr lang="ru-RU" dirty="0" smtClean="0"/>
              <a:t>услуг</a:t>
            </a:r>
            <a:endParaRPr lang="en-US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>
          <a:xfrm>
            <a:off x="84137" y="1047534"/>
            <a:ext cx="9729165" cy="656144"/>
          </a:xfrm>
          <a:noFill/>
        </p:spPr>
        <p:txBody>
          <a:bodyPr>
            <a:normAutofit/>
          </a:bodyPr>
          <a:lstStyle/>
          <a:p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Российский рынок мобильной связи, млрд. руб.</a:t>
            </a:r>
            <a:endParaRPr lang="en-US" sz="20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1100" i="1" dirty="0" smtClean="0">
                <a:solidFill>
                  <a:schemeClr val="bg1"/>
                </a:solidFill>
              </a:rPr>
              <a:t>Источники</a:t>
            </a:r>
            <a:r>
              <a:rPr lang="ru-RU" sz="1100" i="1" dirty="0">
                <a:solidFill>
                  <a:schemeClr val="bg1"/>
                </a:solidFill>
              </a:rPr>
              <a:t>: </a:t>
            </a:r>
            <a:r>
              <a:rPr lang="ru-RU" sz="1100" i="1" dirty="0" err="1">
                <a:solidFill>
                  <a:schemeClr val="bg1"/>
                </a:solidFill>
              </a:rPr>
              <a:t>Директ</a:t>
            </a:r>
            <a:r>
              <a:rPr lang="ru-RU" sz="1100" i="1" dirty="0">
                <a:solidFill>
                  <a:schemeClr val="bg1"/>
                </a:solidFill>
              </a:rPr>
              <a:t> ИНФО</a:t>
            </a:r>
            <a:endParaRPr lang="en-US" sz="1100" i="1" dirty="0">
              <a:solidFill>
                <a:schemeClr val="bg1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185DEA-EC0A-466A-86BE-ACF8F0BABD7C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1" name="Полилиния 10"/>
          <p:cNvSpPr/>
          <p:nvPr/>
        </p:nvSpPr>
        <p:spPr>
          <a:xfrm>
            <a:off x="1884380" y="5331698"/>
            <a:ext cx="6469894" cy="504719"/>
          </a:xfrm>
          <a:custGeom>
            <a:avLst/>
            <a:gdLst>
              <a:gd name="connsiteX0" fmla="*/ 0 w 6469894"/>
              <a:gd name="connsiteY0" fmla="*/ 0 h 504717"/>
              <a:gd name="connsiteX1" fmla="*/ 6217536 w 6469894"/>
              <a:gd name="connsiteY1" fmla="*/ 0 h 504717"/>
              <a:gd name="connsiteX2" fmla="*/ 6469894 w 6469894"/>
              <a:gd name="connsiteY2" fmla="*/ 252359 h 504717"/>
              <a:gd name="connsiteX3" fmla="*/ 6217536 w 6469894"/>
              <a:gd name="connsiteY3" fmla="*/ 504717 h 504717"/>
              <a:gd name="connsiteX4" fmla="*/ 0 w 6469894"/>
              <a:gd name="connsiteY4" fmla="*/ 504717 h 504717"/>
              <a:gd name="connsiteX5" fmla="*/ 0 w 6469894"/>
              <a:gd name="connsiteY5" fmla="*/ 0 h 504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69894" h="504717">
                <a:moveTo>
                  <a:pt x="6469894" y="504716"/>
                </a:moveTo>
                <a:lnTo>
                  <a:pt x="252358" y="504716"/>
                </a:lnTo>
                <a:lnTo>
                  <a:pt x="0" y="252358"/>
                </a:lnTo>
                <a:lnTo>
                  <a:pt x="252358" y="1"/>
                </a:lnTo>
                <a:lnTo>
                  <a:pt x="6469894" y="1"/>
                </a:lnTo>
                <a:lnTo>
                  <a:pt x="6469894" y="504716"/>
                </a:lnTo>
                <a:close/>
              </a:path>
            </a:pathLst>
          </a:custGeom>
          <a:solidFill>
            <a:srgbClr val="EAEAEA"/>
          </a:solidFill>
          <a:ln w="19050">
            <a:noFill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48745" tIns="53341" rIns="99568" bIns="53340" numCol="1" spcCol="1270" anchor="ctr" anchorCtr="0">
            <a:noAutofit/>
          </a:bodyPr>
          <a:lstStyle/>
          <a:p>
            <a:pPr lvl="0" algn="ctr" defTabSz="6223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kern="1200" dirty="0" smtClean="0"/>
              <a:t>Рост за счет сегментов связанных с мобильной передачей данных (мобильный интернет, мобильный контент, M2M решения, мобильная реклама)</a:t>
            </a:r>
            <a:endParaRPr lang="en-US" sz="1400" kern="1200" dirty="0"/>
          </a:p>
        </p:txBody>
      </p:sp>
      <p:sp>
        <p:nvSpPr>
          <p:cNvPr id="13" name="Полилиния 12"/>
          <p:cNvSpPr/>
          <p:nvPr/>
        </p:nvSpPr>
        <p:spPr>
          <a:xfrm>
            <a:off x="1884380" y="5911795"/>
            <a:ext cx="6469894" cy="504719"/>
          </a:xfrm>
          <a:custGeom>
            <a:avLst/>
            <a:gdLst>
              <a:gd name="connsiteX0" fmla="*/ 0 w 6469894"/>
              <a:gd name="connsiteY0" fmla="*/ 0 h 504717"/>
              <a:gd name="connsiteX1" fmla="*/ 6217536 w 6469894"/>
              <a:gd name="connsiteY1" fmla="*/ 0 h 504717"/>
              <a:gd name="connsiteX2" fmla="*/ 6469894 w 6469894"/>
              <a:gd name="connsiteY2" fmla="*/ 252359 h 504717"/>
              <a:gd name="connsiteX3" fmla="*/ 6217536 w 6469894"/>
              <a:gd name="connsiteY3" fmla="*/ 504717 h 504717"/>
              <a:gd name="connsiteX4" fmla="*/ 0 w 6469894"/>
              <a:gd name="connsiteY4" fmla="*/ 504717 h 504717"/>
              <a:gd name="connsiteX5" fmla="*/ 0 w 6469894"/>
              <a:gd name="connsiteY5" fmla="*/ 0 h 504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69894" h="504717">
                <a:moveTo>
                  <a:pt x="6469894" y="504716"/>
                </a:moveTo>
                <a:lnTo>
                  <a:pt x="252358" y="504716"/>
                </a:lnTo>
                <a:lnTo>
                  <a:pt x="0" y="252358"/>
                </a:lnTo>
                <a:lnTo>
                  <a:pt x="252358" y="1"/>
                </a:lnTo>
                <a:lnTo>
                  <a:pt x="6469894" y="1"/>
                </a:lnTo>
                <a:lnTo>
                  <a:pt x="6469894" y="504716"/>
                </a:lnTo>
                <a:close/>
              </a:path>
            </a:pathLst>
          </a:custGeom>
          <a:solidFill>
            <a:srgbClr val="EAEAEA"/>
          </a:solidFill>
          <a:ln w="19050">
            <a:noFill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48745" tIns="53341" rIns="99568" bIns="53341" numCol="1" spcCol="1270" anchor="ctr" anchorCtr="0">
            <a:noAutofit/>
          </a:bodyPr>
          <a:lstStyle/>
          <a:p>
            <a:pPr lvl="0" algn="ctr" defTabSz="6223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kern="1200" dirty="0" err="1" smtClean="0"/>
              <a:t>Каннибализация</a:t>
            </a:r>
            <a:r>
              <a:rPr lang="ru-RU" sz="1400" kern="1200" dirty="0" smtClean="0"/>
              <a:t> “голоса” и SMS/MMS мобильными OTT приложениями</a:t>
            </a:r>
            <a:endParaRPr lang="en-US" sz="1400" kern="1200" dirty="0"/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84137" y="1646720"/>
            <a:ext cx="9729165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8" name="Группа 17"/>
          <p:cNvGrpSpPr/>
          <p:nvPr/>
        </p:nvGrpSpPr>
        <p:grpSpPr>
          <a:xfrm>
            <a:off x="1632021" y="5331699"/>
            <a:ext cx="504717" cy="504717"/>
            <a:chOff x="1587592" y="5456058"/>
            <a:chExt cx="504717" cy="504717"/>
          </a:xfrm>
        </p:grpSpPr>
        <p:sp>
          <p:nvSpPr>
            <p:cNvPr id="12" name="Овал 11"/>
            <p:cNvSpPr/>
            <p:nvPr/>
          </p:nvSpPr>
          <p:spPr>
            <a:xfrm>
              <a:off x="1587592" y="5456058"/>
              <a:ext cx="504717" cy="504717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7" name="TextBox 16"/>
            <p:cNvSpPr txBox="1"/>
            <p:nvPr/>
          </p:nvSpPr>
          <p:spPr>
            <a:xfrm>
              <a:off x="1678947" y="5507230"/>
              <a:ext cx="31451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000" dirty="0" smtClean="0">
                  <a:solidFill>
                    <a:schemeClr val="bg1"/>
                  </a:solidFill>
                </a:rPr>
                <a:t>1</a:t>
              </a:r>
              <a:endParaRPr lang="en-US" sz="2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Группа 18"/>
          <p:cNvGrpSpPr/>
          <p:nvPr/>
        </p:nvGrpSpPr>
        <p:grpSpPr>
          <a:xfrm>
            <a:off x="1632021" y="5911796"/>
            <a:ext cx="504717" cy="504717"/>
            <a:chOff x="1587592" y="6036155"/>
            <a:chExt cx="504717" cy="504717"/>
          </a:xfrm>
        </p:grpSpPr>
        <p:sp>
          <p:nvSpPr>
            <p:cNvPr id="14" name="Овал 13"/>
            <p:cNvSpPr/>
            <p:nvPr/>
          </p:nvSpPr>
          <p:spPr>
            <a:xfrm>
              <a:off x="1587592" y="6036155"/>
              <a:ext cx="504717" cy="504717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" name="TextBox 19"/>
            <p:cNvSpPr txBox="1"/>
            <p:nvPr/>
          </p:nvSpPr>
          <p:spPr>
            <a:xfrm>
              <a:off x="1678947" y="6084658"/>
              <a:ext cx="31451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000" dirty="0">
                  <a:solidFill>
                    <a:schemeClr val="bg1"/>
                  </a:solidFill>
                </a:rPr>
                <a:t>2</a:t>
              </a:r>
              <a:endParaRPr lang="en-US" sz="2000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21" name="Object 20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1852788"/>
              </p:ext>
            </p:extLst>
          </p:nvPr>
        </p:nvGraphicFramePr>
        <p:xfrm>
          <a:off x="1024362" y="2474145"/>
          <a:ext cx="7848713" cy="21716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" name="Chart" r:id="rId60" imgW="7848713" imgH="2171610" progId="MSGraph.Chart.8">
                  <p:embed followColorScheme="full"/>
                </p:oleObj>
              </mc:Choice>
              <mc:Fallback>
                <p:oleObj name="Chart" r:id="rId60" imgW="7848713" imgH="217161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024362" y="2474145"/>
                        <a:ext cx="7848713" cy="21716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2"/>
          <p:cNvCxnSpPr/>
          <p:nvPr>
            <p:custDataLst>
              <p:tags r:id="rId3"/>
            </p:custDataLst>
          </p:nvPr>
        </p:nvCxnSpPr>
        <p:spPr bwMode="auto">
          <a:xfrm flipV="1">
            <a:off x="1595862" y="2464620"/>
            <a:ext cx="3829050" cy="45720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1"/>
          <p:cNvCxnSpPr/>
          <p:nvPr>
            <p:custDataLst>
              <p:tags r:id="rId4"/>
            </p:custDataLst>
          </p:nvPr>
        </p:nvCxnSpPr>
        <p:spPr bwMode="auto">
          <a:xfrm flipV="1">
            <a:off x="6377412" y="2093145"/>
            <a:ext cx="1914525" cy="24765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94"/>
          <p:cNvCxnSpPr/>
          <p:nvPr>
            <p:custDataLst>
              <p:tags r:id="rId5"/>
            </p:custDataLst>
          </p:nvPr>
        </p:nvCxnSpPr>
        <p:spPr bwMode="auto">
          <a:xfrm flipH="1">
            <a:off x="1795887" y="3621907"/>
            <a:ext cx="88900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70"/>
          <p:cNvSpPr/>
          <p:nvPr>
            <p:custDataLst>
              <p:tags r:id="rId6"/>
            </p:custDataLst>
          </p:nvPr>
        </p:nvSpPr>
        <p:spPr bwMode="auto">
          <a:xfrm>
            <a:off x="1630787" y="3359970"/>
            <a:ext cx="196850" cy="182563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3C6BD35-5E34-4631-82F6-8572A8B7707F}" type="datetime'''6''''''''''''''''''6'''''''''''''''''''''''''''''''''''''">
              <a:rPr lang="en-US" sz="1200">
                <a:solidFill>
                  <a:schemeClr val="tx1"/>
                </a:solidFill>
              </a:rPr>
              <a:pPr/>
              <a:t>66</a:t>
            </a:fld>
            <a:endParaRPr lang="en-US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6" name="Oval 41"/>
          <p:cNvSpPr/>
          <p:nvPr>
            <p:custDataLst>
              <p:tags r:id="rId7"/>
            </p:custDataLst>
          </p:nvPr>
        </p:nvSpPr>
        <p:spPr bwMode="auto">
          <a:xfrm>
            <a:off x="7115599" y="2080445"/>
            <a:ext cx="438150" cy="273050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C15BA1A-D3AE-4648-AB79-CF2227EC8A9E}" type="datetime'''''''''''+''7''''''''''''''''''''''''''%'">
              <a:rPr lang="en-US" sz="1400" b="1">
                <a:solidFill>
                  <a:schemeClr val="tx1"/>
                </a:solidFill>
              </a:rPr>
              <a:pPr/>
              <a:t>+7%</a:t>
            </a:fld>
            <a:endParaRPr lang="en-US" sz="14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7" name="Rectangle 23"/>
          <p:cNvSpPr/>
          <p:nvPr>
            <p:custDataLst>
              <p:tags r:id="rId8"/>
            </p:custDataLst>
          </p:nvPr>
        </p:nvSpPr>
        <p:spPr bwMode="auto">
          <a:xfrm>
            <a:off x="7147349" y="457599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6ECA8F6-5DAA-4FD6-A99A-8394C0782352}" type="datetime'''''2''''''''''''01''''''''''''7'''''''''''''''''">
              <a:rPr lang="en-US" sz="1400">
                <a:solidFill>
                  <a:schemeClr val="tx1"/>
                </a:solidFill>
              </a:rPr>
              <a:pPr/>
              <a:t>2017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8" name="Oval 42"/>
          <p:cNvSpPr/>
          <p:nvPr>
            <p:custDataLst>
              <p:tags r:id="rId9"/>
            </p:custDataLst>
          </p:nvPr>
        </p:nvSpPr>
        <p:spPr bwMode="auto">
          <a:xfrm>
            <a:off x="3291312" y="2556695"/>
            <a:ext cx="438150" cy="273050"/>
          </a:xfrm>
          <a:prstGeom prst="ellips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9BD7C50-804C-4BC0-9049-F5AC0BB76A18}" type="datetime'''''''''+''''''''''''''''''''''''''''''''9''''''%'''''''''''''">
              <a:rPr lang="en-US" sz="1400" b="1">
                <a:solidFill>
                  <a:schemeClr val="tx1"/>
                </a:solidFill>
              </a:rPr>
              <a:pPr/>
              <a:t>+9%</a:t>
            </a:fld>
            <a:endParaRPr lang="en-US" sz="14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9" name="Rectangle 43"/>
          <p:cNvSpPr/>
          <p:nvPr>
            <p:custDataLst>
              <p:tags r:id="rId10"/>
            </p:custDataLst>
          </p:nvPr>
        </p:nvSpPr>
        <p:spPr bwMode="auto">
          <a:xfrm>
            <a:off x="8104612" y="457599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13982C1-CE35-4DD0-842D-948FE885E987}" type="datetime'''''2''''''''0''''''1''''''''''''''8'''''''''''''">
              <a:rPr lang="en-US" sz="1400">
                <a:solidFill>
                  <a:schemeClr val="tx1"/>
                </a:solidFill>
              </a:rPr>
              <a:pPr/>
              <a:t>2018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0" name="Rectangle 40"/>
          <p:cNvSpPr/>
          <p:nvPr>
            <p:custDataLst>
              <p:tags r:id="rId11"/>
            </p:custDataLst>
          </p:nvPr>
        </p:nvSpPr>
        <p:spPr bwMode="auto">
          <a:xfrm>
            <a:off x="8085562" y="2331270"/>
            <a:ext cx="4127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90509D6-75F3-49C8-BFF4-7E82B5578611}" type="datetime'''''''''''''1''''''''''''''''4''''''''''''''5''''7'">
              <a:rPr lang="en-US" sz="1400" b="1">
                <a:solidFill>
                  <a:schemeClr val="tx1"/>
                </a:solidFill>
              </a:rPr>
              <a:pPr/>
              <a:t>1457</a:t>
            </a:fld>
            <a:endParaRPr lang="en-US" sz="14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1" name="Rectangle 44"/>
          <p:cNvSpPr/>
          <p:nvPr>
            <p:custDataLst>
              <p:tags r:id="rId12"/>
            </p:custDataLst>
          </p:nvPr>
        </p:nvSpPr>
        <p:spPr bwMode="gray">
          <a:xfrm>
            <a:off x="8193512" y="3421882"/>
            <a:ext cx="196850" cy="182563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900E1E8-3EC3-42D2-AF82-151490206B69}" type="datetime'''''''''''''''''''''4''''''''''''''''''''''''''3'">
              <a:rPr lang="en-US" sz="1200">
                <a:solidFill>
                  <a:schemeClr val="tx1"/>
                </a:solidFill>
              </a:rPr>
              <a:pPr/>
              <a:t>43</a:t>
            </a:fld>
            <a:endParaRPr lang="en-US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2" name="Rectangle 45"/>
          <p:cNvSpPr/>
          <p:nvPr>
            <p:custDataLst>
              <p:tags r:id="rId13"/>
            </p:custDataLst>
          </p:nvPr>
        </p:nvSpPr>
        <p:spPr bwMode="gray">
          <a:xfrm>
            <a:off x="8155412" y="3917182"/>
            <a:ext cx="27463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F2097FA-D290-4367-B805-7EFD515C230F}" type="datetime'''''''''''''''''''7''''11'''''''''">
              <a:rPr lang="en-US" sz="1200">
                <a:solidFill>
                  <a:schemeClr val="bg1"/>
                </a:solidFill>
              </a:rPr>
              <a:pPr/>
              <a:t>711</a:t>
            </a:fld>
            <a:endParaRPr lang="en-US" sz="12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33" name="Rectangle 91"/>
          <p:cNvSpPr/>
          <p:nvPr>
            <p:custDataLst>
              <p:tags r:id="rId14"/>
            </p:custDataLst>
          </p:nvPr>
        </p:nvSpPr>
        <p:spPr bwMode="gray">
          <a:xfrm>
            <a:off x="8155412" y="3055170"/>
            <a:ext cx="2746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F4C868C-7B1C-44EA-B3A9-475AB2543438}" type="datetime'''''5''''''''''''''''''''''''''''''1''''''''''''''''8'''''">
              <a:rPr lang="en-US" sz="1200">
                <a:solidFill>
                  <a:schemeClr val="bg1"/>
                </a:solidFill>
              </a:rPr>
              <a:pPr/>
              <a:t>518</a:t>
            </a:fld>
            <a:endParaRPr lang="en-US" sz="12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34" name="Rectangle 25"/>
          <p:cNvSpPr/>
          <p:nvPr>
            <p:custDataLst>
              <p:tags r:id="rId15"/>
            </p:custDataLst>
          </p:nvPr>
        </p:nvSpPr>
        <p:spPr bwMode="gray">
          <a:xfrm>
            <a:off x="7198149" y="3902895"/>
            <a:ext cx="27463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5E48318-4D0C-413F-B7E5-5C596B17FA54}" type="datetime'''''''''''''''''''''''''7''''''''''''''3''''''3'''''''''''">
              <a:rPr lang="en-US" sz="1200">
                <a:solidFill>
                  <a:schemeClr val="bg1"/>
                </a:solidFill>
              </a:rPr>
              <a:pPr/>
              <a:t>733</a:t>
            </a:fld>
            <a:endParaRPr lang="en-US" sz="12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35" name="Rectangle 26"/>
          <p:cNvSpPr/>
          <p:nvPr>
            <p:custDataLst>
              <p:tags r:id="rId16"/>
            </p:custDataLst>
          </p:nvPr>
        </p:nvSpPr>
        <p:spPr bwMode="gray">
          <a:xfrm>
            <a:off x="7236249" y="3393307"/>
            <a:ext cx="196850" cy="182563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4D1BF89-7827-4272-884D-BE9424289045}" type="datetime'''''''4''''''''''''''''''''''''9'''''''''''''''''''">
              <a:rPr lang="en-US" sz="1200">
                <a:solidFill>
                  <a:schemeClr val="tx1"/>
                </a:solidFill>
              </a:rPr>
              <a:pPr/>
              <a:t>49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6" name="Rectangle 90"/>
          <p:cNvSpPr/>
          <p:nvPr>
            <p:custDataLst>
              <p:tags r:id="rId17"/>
            </p:custDataLst>
          </p:nvPr>
        </p:nvSpPr>
        <p:spPr bwMode="gray">
          <a:xfrm>
            <a:off x="7198149" y="3093270"/>
            <a:ext cx="2746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AB07718-67B4-4891-9B69-1C4CCC6C65CF}" type="datetime'''''''''''''''''''''''''''''''''''''''''''''''41''5'''''''">
              <a:rPr lang="en-US" sz="1200">
                <a:solidFill>
                  <a:schemeClr val="bg1"/>
                </a:solidFill>
              </a:rPr>
              <a:pPr/>
              <a:t>415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37" name="Rectangle 29"/>
          <p:cNvSpPr/>
          <p:nvPr>
            <p:custDataLst>
              <p:tags r:id="rId18"/>
            </p:custDataLst>
          </p:nvPr>
        </p:nvSpPr>
        <p:spPr bwMode="auto">
          <a:xfrm>
            <a:off x="6190087" y="457599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DABF30F-534B-49B7-BE1C-8B5567752BEB}" type="datetime'''''''''2''0''''''''1''''6'''''''''''''''''''">
              <a:rPr lang="en-US" sz="1400">
                <a:solidFill>
                  <a:schemeClr val="tx1"/>
                </a:solidFill>
              </a:rPr>
              <a:pPr/>
              <a:t>2016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8" name="Rectangle 30"/>
          <p:cNvSpPr/>
          <p:nvPr>
            <p:custDataLst>
              <p:tags r:id="rId19"/>
            </p:custDataLst>
          </p:nvPr>
        </p:nvSpPr>
        <p:spPr bwMode="auto">
          <a:xfrm>
            <a:off x="6171037" y="2578920"/>
            <a:ext cx="4127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E0755C2-4B1A-428A-9507-1A2A21C18E34}" type="datetime'''''1''2''''''''''6''''4'''''''''''''''''''''''">
              <a:rPr lang="en-US" sz="1400" b="1">
                <a:solidFill>
                  <a:schemeClr val="tx1"/>
                </a:solidFill>
              </a:rPr>
              <a:pPr/>
              <a:t>1264</a:t>
            </a:fld>
            <a:endParaRPr lang="en-US" sz="14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9" name="Rectangle 31"/>
          <p:cNvSpPr/>
          <p:nvPr>
            <p:custDataLst>
              <p:tags r:id="rId20"/>
            </p:custDataLst>
          </p:nvPr>
        </p:nvSpPr>
        <p:spPr bwMode="gray">
          <a:xfrm>
            <a:off x="6240887" y="3893370"/>
            <a:ext cx="27463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6ED8274-0790-4348-A7F3-615206DEC4B1}" type="datetime'''''7''''''''''''''''''''''''''''''''''4''''''''''''''''''''8'">
              <a:rPr lang="en-US" sz="1200">
                <a:solidFill>
                  <a:schemeClr val="bg1"/>
                </a:solidFill>
              </a:rPr>
              <a:pPr/>
              <a:t>748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40" name="Rectangle 32"/>
          <p:cNvSpPr/>
          <p:nvPr>
            <p:custDataLst>
              <p:tags r:id="rId21"/>
            </p:custDataLst>
          </p:nvPr>
        </p:nvSpPr>
        <p:spPr bwMode="gray">
          <a:xfrm>
            <a:off x="6278987" y="3369495"/>
            <a:ext cx="196850" cy="182563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1A4C69-B04A-4D6D-B016-142CAEF01171}" type="datetime'''''''''''''''''''''''''''5''''''''''''''''''''''''3'''''''''">
              <a:rPr lang="en-US" sz="1200">
                <a:solidFill>
                  <a:schemeClr val="tx1"/>
                </a:solidFill>
              </a:rPr>
              <a:pPr/>
              <a:t>53</a:t>
            </a:fld>
            <a:endParaRPr lang="en-US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1" name="Rectangle 89"/>
          <p:cNvSpPr/>
          <p:nvPr>
            <p:custDataLst>
              <p:tags r:id="rId22"/>
            </p:custDataLst>
          </p:nvPr>
        </p:nvSpPr>
        <p:spPr bwMode="gray">
          <a:xfrm>
            <a:off x="6240887" y="3131370"/>
            <a:ext cx="2746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7416B8A-965C-4E92-AEE4-A3834DECD991}" type="datetime'''''''3''''''''''''''''''''1''''''''''''''4'''''''''''''''''">
              <a:rPr lang="en-US" sz="1200">
                <a:solidFill>
                  <a:schemeClr val="bg1"/>
                </a:solidFill>
              </a:rPr>
              <a:pPr/>
              <a:t>314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42" name="Rectangle 35"/>
          <p:cNvSpPr/>
          <p:nvPr>
            <p:custDataLst>
              <p:tags r:id="rId23"/>
            </p:custDataLst>
          </p:nvPr>
        </p:nvSpPr>
        <p:spPr bwMode="auto">
          <a:xfrm>
            <a:off x="5237587" y="457599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EF3B4F9-0314-49A7-BD2D-DF704BAFBE5B}" type="datetime'''''''''''''''''''''''''20''1''''''''''''5'''''''''''">
              <a:rPr lang="en-US" sz="1400">
                <a:solidFill>
                  <a:schemeClr val="tx1"/>
                </a:solidFill>
              </a:rPr>
              <a:pPr/>
              <a:t>2015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3" name="Rectangle 36"/>
          <p:cNvSpPr/>
          <p:nvPr>
            <p:custDataLst>
              <p:tags r:id="rId24"/>
            </p:custDataLst>
          </p:nvPr>
        </p:nvSpPr>
        <p:spPr bwMode="auto">
          <a:xfrm>
            <a:off x="5218537" y="2712270"/>
            <a:ext cx="4127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10E54E8-39FB-4099-8C33-2F56C89D2869}" type="datetime'''''''''''''''''''''''1''''1''''''''''68'''''''''''''''''''">
              <a:rPr lang="en-US" sz="1400" b="1">
                <a:solidFill>
                  <a:schemeClr val="tx1"/>
                </a:solidFill>
              </a:rPr>
              <a:pPr/>
              <a:t>1168</a:t>
            </a:fld>
            <a:endParaRPr lang="en-US" sz="14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4" name="Rectangle 37"/>
          <p:cNvSpPr/>
          <p:nvPr>
            <p:custDataLst>
              <p:tags r:id="rId25"/>
            </p:custDataLst>
          </p:nvPr>
        </p:nvSpPr>
        <p:spPr bwMode="gray">
          <a:xfrm>
            <a:off x="5288387" y="3893370"/>
            <a:ext cx="27463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BA5D4F7-0147-4DEC-A5E3-335A40034D2A}" type="datetime'''''''''''''''''''7''''''''48'''''''''''''''''''''''''">
              <a:rPr lang="en-US" sz="1200">
                <a:solidFill>
                  <a:schemeClr val="bg1"/>
                </a:solidFill>
              </a:rPr>
              <a:pPr/>
              <a:t>748</a:t>
            </a:fld>
            <a:endParaRPr lang="en-US" sz="12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45" name="Rectangle 38"/>
          <p:cNvSpPr/>
          <p:nvPr>
            <p:custDataLst>
              <p:tags r:id="rId26"/>
            </p:custDataLst>
          </p:nvPr>
        </p:nvSpPr>
        <p:spPr bwMode="gray">
          <a:xfrm>
            <a:off x="5326487" y="3369495"/>
            <a:ext cx="196850" cy="182563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54E5650-92A9-4819-8C13-E256F256158F}" type="datetime'''''''''''''''5''''''''6'''''''''''''">
              <a:rPr lang="en-US" sz="1200">
                <a:solidFill>
                  <a:schemeClr val="tx1"/>
                </a:solidFill>
              </a:rPr>
              <a:pPr/>
              <a:t>56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6" name="Rectangle 88"/>
          <p:cNvSpPr/>
          <p:nvPr>
            <p:custDataLst>
              <p:tags r:id="rId27"/>
            </p:custDataLst>
          </p:nvPr>
        </p:nvSpPr>
        <p:spPr bwMode="gray">
          <a:xfrm>
            <a:off x="5288387" y="3183757"/>
            <a:ext cx="2746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6B28A40-58CB-4F0E-8819-0B6DCAD8FB3B}" type="datetime'''''''''''2''''''''''''''''''''''3''3'">
              <a:rPr lang="en-US" sz="1200">
                <a:solidFill>
                  <a:schemeClr val="bg1"/>
                </a:solidFill>
              </a:rPr>
              <a:pPr/>
              <a:t>233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47" name="Rectangle 47"/>
          <p:cNvSpPr/>
          <p:nvPr>
            <p:custDataLst>
              <p:tags r:id="rId28"/>
            </p:custDataLst>
          </p:nvPr>
        </p:nvSpPr>
        <p:spPr bwMode="auto">
          <a:xfrm>
            <a:off x="4280324" y="457599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4A10731-FEC2-4608-A8C3-24303569C254}" type="datetime'''''''''''''''20''''''''''''''''1''''''''''''''4'">
              <a:rPr lang="en-US" sz="1400">
                <a:solidFill>
                  <a:schemeClr val="tx1"/>
                </a:solidFill>
              </a:rPr>
              <a:pPr/>
              <a:t>2014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8" name="Rectangle 48"/>
          <p:cNvSpPr/>
          <p:nvPr>
            <p:custDataLst>
              <p:tags r:id="rId29"/>
            </p:custDataLst>
          </p:nvPr>
        </p:nvSpPr>
        <p:spPr bwMode="auto">
          <a:xfrm>
            <a:off x="4261274" y="2826570"/>
            <a:ext cx="4127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7AC4B09-8642-497F-ADC6-21EB5EA21A2D}" type="datetime'''1''''''0''''''7''''''''''8'''''''''''''''''''''''''''">
              <a:rPr lang="en-US" sz="1400" b="1">
                <a:solidFill>
                  <a:schemeClr val="tx1"/>
                </a:solidFill>
              </a:rPr>
              <a:pPr/>
              <a:t>1078</a:t>
            </a:fld>
            <a:endParaRPr lang="en-US" sz="14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9" name="Rectangle 49"/>
          <p:cNvSpPr/>
          <p:nvPr>
            <p:custDataLst>
              <p:tags r:id="rId30"/>
            </p:custDataLst>
          </p:nvPr>
        </p:nvSpPr>
        <p:spPr bwMode="gray">
          <a:xfrm>
            <a:off x="4331124" y="3902895"/>
            <a:ext cx="27463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5B2DBF5-CAAE-4409-B8ED-0D0BBA56C013}" type="datetime'''''''''''''''''73''''''''''7'''">
              <a:rPr lang="en-US" sz="1200">
                <a:solidFill>
                  <a:schemeClr val="bg1"/>
                </a:solidFill>
              </a:rPr>
              <a:pPr/>
              <a:t>737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50" name="Rectangle 50"/>
          <p:cNvSpPr/>
          <p:nvPr>
            <p:custDataLst>
              <p:tags r:id="rId31"/>
            </p:custDataLst>
          </p:nvPr>
        </p:nvSpPr>
        <p:spPr bwMode="gray">
          <a:xfrm>
            <a:off x="4232699" y="3383782"/>
            <a:ext cx="196850" cy="182563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ADC55F8-3D90-45DD-9684-D3F88C24D2B1}" type="datetime'''''''''5''''''''''''''''''''''''''''''''''''''''''''''6'">
              <a:rPr lang="en-US" sz="1200">
                <a:solidFill>
                  <a:schemeClr val="tx1"/>
                </a:solidFill>
              </a:rPr>
              <a:pPr/>
              <a:t>56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1" name="Rectangle 87"/>
          <p:cNvSpPr/>
          <p:nvPr>
            <p:custDataLst>
              <p:tags r:id="rId32"/>
            </p:custDataLst>
          </p:nvPr>
        </p:nvSpPr>
        <p:spPr bwMode="gray">
          <a:xfrm>
            <a:off x="4466062" y="3236145"/>
            <a:ext cx="2746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73C998B-6C9F-4BDD-8894-9A594EF66000}" type="datetime'17''''''''''''''''1'''''">
              <a:rPr lang="en-US" sz="1200">
                <a:solidFill>
                  <a:schemeClr val="bg1"/>
                </a:solidFill>
              </a:rPr>
              <a:pPr/>
              <a:t>171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52" name="Rectangle 53"/>
          <p:cNvSpPr/>
          <p:nvPr>
            <p:custDataLst>
              <p:tags r:id="rId33"/>
            </p:custDataLst>
          </p:nvPr>
        </p:nvSpPr>
        <p:spPr bwMode="auto">
          <a:xfrm>
            <a:off x="3323062" y="457599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DD0C37D-2352-4C3A-BAD0-8D614A1ACCD2}" type="datetime'20''''''''''''''''''''1''''''''''3'''''''">
              <a:rPr lang="en-US" sz="1400">
                <a:solidFill>
                  <a:schemeClr val="tx1"/>
                </a:solidFill>
              </a:rPr>
              <a:pPr/>
              <a:t>2013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3" name="Rectangle 54"/>
          <p:cNvSpPr/>
          <p:nvPr>
            <p:custDataLst>
              <p:tags r:id="rId34"/>
            </p:custDataLst>
          </p:nvPr>
        </p:nvSpPr>
        <p:spPr bwMode="auto">
          <a:xfrm>
            <a:off x="3350049" y="2931345"/>
            <a:ext cx="32226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CE0BA46-9B3B-4DD2-91BF-2EF3DCE87667}" type="datetime'9''''9''''''''''''''''''''''''6'''''">
              <a:rPr lang="en-US" sz="1400" b="1">
                <a:solidFill>
                  <a:schemeClr val="tx1"/>
                </a:solidFill>
              </a:rPr>
              <a:pPr/>
              <a:t>996</a:t>
            </a:fld>
            <a:endParaRPr lang="en-US" sz="14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4" name="Rectangle 55"/>
          <p:cNvSpPr/>
          <p:nvPr>
            <p:custDataLst>
              <p:tags r:id="rId35"/>
            </p:custDataLst>
          </p:nvPr>
        </p:nvSpPr>
        <p:spPr bwMode="gray">
          <a:xfrm>
            <a:off x="3373862" y="3917182"/>
            <a:ext cx="27463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3ECE041-914D-4296-829E-DBBAF28E4CE9}" type="datetime'''''''''''''7''''''''''''''1''''''''''''''''''''''''''''5'''">
              <a:rPr lang="en-US" sz="1200">
                <a:solidFill>
                  <a:schemeClr val="bg1"/>
                </a:solidFill>
              </a:rPr>
              <a:pPr/>
              <a:t>715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55" name="Rectangle 56"/>
          <p:cNvSpPr/>
          <p:nvPr>
            <p:custDataLst>
              <p:tags r:id="rId36"/>
            </p:custDataLst>
          </p:nvPr>
        </p:nvSpPr>
        <p:spPr bwMode="gray">
          <a:xfrm>
            <a:off x="3278612" y="3412357"/>
            <a:ext cx="196850" cy="182563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32FF0A8-D346-4F9E-8AAE-A5BA119E6894}" type="datetime'''''''''''5''''''6'''''">
              <a:rPr lang="en-US" sz="1200">
                <a:solidFill>
                  <a:schemeClr val="tx1"/>
                </a:solidFill>
              </a:rPr>
              <a:pPr/>
              <a:t>56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6" name="Rectangle 69"/>
          <p:cNvSpPr/>
          <p:nvPr>
            <p:custDataLst>
              <p:tags r:id="rId37"/>
            </p:custDataLst>
          </p:nvPr>
        </p:nvSpPr>
        <p:spPr bwMode="gray">
          <a:xfrm>
            <a:off x="1364087" y="3450457"/>
            <a:ext cx="196850" cy="182563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B741BCC-BEB6-452F-829F-EB2A31CD340D}" type="datetime'''''''''''''7''''''''''''''''''''1'''''''">
              <a:rPr lang="en-US" sz="1200">
                <a:solidFill>
                  <a:schemeClr val="bg1"/>
                </a:solidFill>
              </a:rPr>
              <a:pPr/>
              <a:t>71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57" name="Rectangle 92"/>
          <p:cNvSpPr/>
          <p:nvPr>
            <p:custDataLst>
              <p:tags r:id="rId38"/>
            </p:custDataLst>
          </p:nvPr>
        </p:nvSpPr>
        <p:spPr bwMode="auto">
          <a:xfrm>
            <a:off x="3278612" y="3145657"/>
            <a:ext cx="196850" cy="182563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5AC3EAC-31A2-46A5-AABF-4BF56A67E66B}" type="datetime'''9''''''7'''''''''''''">
              <a:rPr lang="en-US" sz="1200">
                <a:solidFill>
                  <a:schemeClr val="tx1"/>
                </a:solidFill>
              </a:rPr>
              <a:pPr/>
              <a:t>97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8" name="Rectangle 59"/>
          <p:cNvSpPr/>
          <p:nvPr>
            <p:custDataLst>
              <p:tags r:id="rId39"/>
            </p:custDataLst>
          </p:nvPr>
        </p:nvSpPr>
        <p:spPr bwMode="auto">
          <a:xfrm>
            <a:off x="2365799" y="457599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2B4274B-D1FB-40FD-A4F4-CE3607083FD7}" type="datetime'''''2''''''0''''''1''''''''''''''''2'''''">
              <a:rPr lang="en-US" sz="1400">
                <a:solidFill>
                  <a:schemeClr val="tx1"/>
                </a:solidFill>
              </a:rPr>
              <a:pPr/>
              <a:t>2012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9" name="Rectangle 66"/>
          <p:cNvSpPr/>
          <p:nvPr>
            <p:custDataLst>
              <p:tags r:id="rId40"/>
            </p:custDataLst>
          </p:nvPr>
        </p:nvSpPr>
        <p:spPr bwMode="auto">
          <a:xfrm>
            <a:off x="2392787" y="3032945"/>
            <a:ext cx="32226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6A8C7D7-FE70-4973-9BBF-89421466892E}" type="datetime'''''''''''90''''''''8'''''''''''''''''''''''''''''''''''">
              <a:rPr lang="en-US" sz="1400" b="1">
                <a:solidFill>
                  <a:schemeClr val="tx1"/>
                </a:solidFill>
              </a:rPr>
              <a:pPr/>
              <a:t>908</a:t>
            </a:fld>
            <a:endParaRPr lang="en-US" sz="14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0" name="Rectangle 61"/>
          <p:cNvSpPr/>
          <p:nvPr>
            <p:custDataLst>
              <p:tags r:id="rId41"/>
            </p:custDataLst>
          </p:nvPr>
        </p:nvSpPr>
        <p:spPr bwMode="gray">
          <a:xfrm>
            <a:off x="2416599" y="3940995"/>
            <a:ext cx="27463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17B8D9B-5A86-40D3-BCBC-74EACA1FDFC8}" type="datetime'''''''''6''''''''''''''''''7''''''''''''''''''''''9'''''''''">
              <a:rPr lang="en-US" sz="1200">
                <a:solidFill>
                  <a:schemeClr val="bg1"/>
                </a:solidFill>
              </a:rPr>
              <a:pPr/>
              <a:t>679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61" name="Rectangle 62"/>
          <p:cNvSpPr/>
          <p:nvPr>
            <p:custDataLst>
              <p:tags r:id="rId42"/>
            </p:custDataLst>
          </p:nvPr>
        </p:nvSpPr>
        <p:spPr bwMode="gray">
          <a:xfrm>
            <a:off x="2318174" y="3459982"/>
            <a:ext cx="196850" cy="182563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877BD1A-E369-4376-8B70-E5B3330FF9BB}" type="datetime'''''''''''''''''''''''5''''''''''4'''''''''''''''''''">
              <a:rPr lang="en-US" sz="1200">
                <a:solidFill>
                  <a:schemeClr val="tx1"/>
                </a:solidFill>
              </a:rPr>
              <a:pPr/>
              <a:t>54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2" name="Rectangle 86"/>
          <p:cNvSpPr/>
          <p:nvPr>
            <p:custDataLst>
              <p:tags r:id="rId43"/>
            </p:custDataLst>
          </p:nvPr>
        </p:nvSpPr>
        <p:spPr bwMode="gray">
          <a:xfrm>
            <a:off x="3507212" y="3293295"/>
            <a:ext cx="2746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AFC465B-787B-4680-BCD0-4CAA84B94064}" type="datetime'''''''''''''''1''''''''''''''''28'''''''''''''">
              <a:rPr lang="en-US" sz="1200">
                <a:solidFill>
                  <a:schemeClr val="bg1"/>
                </a:solidFill>
              </a:rPr>
              <a:pPr/>
              <a:t>128</a:t>
            </a:fld>
            <a:endParaRPr lang="en-US" sz="12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63" name="Rectangle 64"/>
          <p:cNvSpPr/>
          <p:nvPr>
            <p:custDataLst>
              <p:tags r:id="rId44"/>
            </p:custDataLst>
          </p:nvPr>
        </p:nvSpPr>
        <p:spPr bwMode="auto">
          <a:xfrm>
            <a:off x="2318174" y="3245670"/>
            <a:ext cx="196850" cy="182563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6A10EAA-D45D-4AB2-9975-CFB07C148E2F}" type="datetime'''''''''''''''''''''''''''''''''''''''''80'">
              <a:rPr lang="en-US" sz="1200">
                <a:solidFill>
                  <a:schemeClr val="tx1"/>
                </a:solidFill>
              </a:rPr>
              <a:pPr/>
              <a:t>80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4" name="Rectangle 65"/>
          <p:cNvSpPr/>
          <p:nvPr>
            <p:custDataLst>
              <p:tags r:id="rId45"/>
            </p:custDataLst>
          </p:nvPr>
        </p:nvSpPr>
        <p:spPr bwMode="auto">
          <a:xfrm>
            <a:off x="1408537" y="457599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0AAC788-481E-496D-8129-7F2E41B11F3E}" type="datetime'''''''''2''''''0''11'''''''''''''''''''''''''">
              <a:rPr lang="en-US" sz="1400">
                <a:solidFill>
                  <a:schemeClr val="tx1"/>
                </a:solidFill>
              </a:rPr>
              <a:pPr/>
              <a:t>2011</a:t>
            </a:fld>
            <a:endParaRPr lang="en-US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5" name="Rectangle 72"/>
          <p:cNvSpPr/>
          <p:nvPr>
            <p:custDataLst>
              <p:tags r:id="rId46"/>
            </p:custDataLst>
          </p:nvPr>
        </p:nvSpPr>
        <p:spPr bwMode="auto">
          <a:xfrm>
            <a:off x="1435524" y="3147245"/>
            <a:ext cx="32226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CFAAF33-6F89-48FC-A3C4-12347E597705}" type="datetime'''81''''''''''''''''''''''''6'''''''''''''''''''''''''''">
              <a:rPr lang="en-US" sz="1400" b="1">
                <a:solidFill>
                  <a:schemeClr val="tx1"/>
                </a:solidFill>
              </a:rPr>
              <a:pPr/>
              <a:t>816</a:t>
            </a:fld>
            <a:endParaRPr lang="en-US" sz="14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6" name="Rectangle 67"/>
          <p:cNvSpPr/>
          <p:nvPr>
            <p:custDataLst>
              <p:tags r:id="rId47"/>
            </p:custDataLst>
          </p:nvPr>
        </p:nvSpPr>
        <p:spPr bwMode="gray">
          <a:xfrm>
            <a:off x="1459337" y="3974332"/>
            <a:ext cx="27463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FD35919-E92D-43D8-8830-F28FC7C45779}" type="datetime'''''''''''''6''''''''''''2''''''8'''''''''''">
              <a:rPr lang="en-US" sz="1200">
                <a:solidFill>
                  <a:schemeClr val="bg1"/>
                </a:solidFill>
              </a:rPr>
              <a:pPr/>
              <a:t>628</a:t>
            </a:fld>
            <a:endParaRPr lang="en-US" sz="12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67" name="Rectangle 24"/>
          <p:cNvSpPr/>
          <p:nvPr>
            <p:custDataLst>
              <p:tags r:id="rId48"/>
            </p:custDataLst>
          </p:nvPr>
        </p:nvSpPr>
        <p:spPr bwMode="auto">
          <a:xfrm>
            <a:off x="7128299" y="2455095"/>
            <a:ext cx="4127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48ED48C-2C10-4B1D-AB4B-DC5C54C3C352}" type="datetime'''''1''''''''''''''''''''''''''''3''''''''''6''''''''4'''''''">
              <a:rPr lang="en-US" sz="1400" b="1">
                <a:solidFill>
                  <a:schemeClr val="tx1"/>
                </a:solidFill>
              </a:rPr>
              <a:pPr/>
              <a:t>1364</a:t>
            </a:fld>
            <a:endParaRPr lang="en-US" sz="14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8" name="Rectangle 85"/>
          <p:cNvSpPr/>
          <p:nvPr>
            <p:custDataLst>
              <p:tags r:id="rId49"/>
            </p:custDataLst>
          </p:nvPr>
        </p:nvSpPr>
        <p:spPr bwMode="gray">
          <a:xfrm>
            <a:off x="2589637" y="3359970"/>
            <a:ext cx="196850" cy="182563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3F877FF-0B22-4C82-B578-837CE135724C}" type="datetime'''''''9''5'''''''''''''''''''''''''">
              <a:rPr lang="en-US" sz="1200">
                <a:solidFill>
                  <a:schemeClr val="bg1"/>
                </a:solidFill>
              </a:rPr>
              <a:pPr/>
              <a:t>95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69" name="Rectangle 76"/>
          <p:cNvSpPr/>
          <p:nvPr>
            <p:custDataLst>
              <p:tags r:id="rId50"/>
            </p:custDataLst>
          </p:nvPr>
        </p:nvSpPr>
        <p:spPr bwMode="auto">
          <a:xfrm>
            <a:off x="2041949" y="4866507"/>
            <a:ext cx="214313" cy="160338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0" name="Rectangle 73"/>
          <p:cNvSpPr/>
          <p:nvPr>
            <p:custDataLst>
              <p:tags r:id="rId51"/>
            </p:custDataLst>
          </p:nvPr>
        </p:nvSpPr>
        <p:spPr bwMode="auto">
          <a:xfrm>
            <a:off x="5404274" y="4866507"/>
            <a:ext cx="214313" cy="160338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1" name="Rectangle 75"/>
          <p:cNvSpPr/>
          <p:nvPr>
            <p:custDataLst>
              <p:tags r:id="rId52"/>
            </p:custDataLst>
          </p:nvPr>
        </p:nvSpPr>
        <p:spPr bwMode="auto">
          <a:xfrm>
            <a:off x="6444087" y="4866507"/>
            <a:ext cx="214313" cy="1603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2" name="Rectangle 74"/>
          <p:cNvSpPr/>
          <p:nvPr>
            <p:custDataLst>
              <p:tags r:id="rId53"/>
            </p:custDataLst>
          </p:nvPr>
        </p:nvSpPr>
        <p:spPr bwMode="auto">
          <a:xfrm>
            <a:off x="3113512" y="4866507"/>
            <a:ext cx="214313" cy="160338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3" name="Rectangle 79"/>
          <p:cNvSpPr/>
          <p:nvPr>
            <p:custDataLst>
              <p:tags r:id="rId54"/>
            </p:custDataLst>
          </p:nvPr>
        </p:nvSpPr>
        <p:spPr bwMode="auto">
          <a:xfrm>
            <a:off x="6709199" y="4861745"/>
            <a:ext cx="115093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27D623F-16A7-49B0-B185-FE8AB8BC35A9}" type="datetime'Г''''''ол''''''о''со''''''в''''''ые ''''''''у''''с''''''луги'">
              <a:rPr lang="en-US" sz="1200">
                <a:solidFill>
                  <a:schemeClr val="tx1"/>
                </a:solidFill>
              </a:rPr>
              <a:pPr/>
              <a:t>Голосовые услуги</a:t>
            </a:fld>
            <a:endParaRPr lang="en-US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4" name="Rectangle 80"/>
          <p:cNvSpPr/>
          <p:nvPr>
            <p:custDataLst>
              <p:tags r:id="rId55"/>
            </p:custDataLst>
          </p:nvPr>
        </p:nvSpPr>
        <p:spPr bwMode="auto">
          <a:xfrm>
            <a:off x="5669387" y="4861745"/>
            <a:ext cx="6731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19A8757-3D22-41C6-BCCF-1868E2764C7F}" type="datetime'''''''''''''''S''M''''''''''''''''''S'''','''''''' MM''''''S'">
              <a:rPr lang="en-US" sz="1200">
                <a:solidFill>
                  <a:schemeClr val="tx1"/>
                </a:solidFill>
              </a:rPr>
              <a:pPr/>
              <a:t>SMS, MMS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5" name="Rectangle 77"/>
          <p:cNvSpPr/>
          <p:nvPr>
            <p:custDataLst>
              <p:tags r:id="rId56"/>
            </p:custDataLst>
          </p:nvPr>
        </p:nvSpPr>
        <p:spPr bwMode="auto">
          <a:xfrm>
            <a:off x="2307062" y="4861745"/>
            <a:ext cx="704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BC9FE37-166F-4683-A26E-262B7E3DB652}" type="datetime'V''''''''''''A''S-у''''с''''''''лу''''''''''''''''''г''и'">
              <a:rPr lang="en-US" sz="1200">
                <a:solidFill>
                  <a:schemeClr val="tx1"/>
                </a:solidFill>
              </a:rPr>
              <a:pPr/>
              <a:t>VAS-услуги</a:t>
            </a:fld>
            <a:endParaRPr lang="en-US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6" name="Rectangle 78"/>
          <p:cNvSpPr/>
          <p:nvPr>
            <p:custDataLst>
              <p:tags r:id="rId57"/>
            </p:custDataLst>
          </p:nvPr>
        </p:nvSpPr>
        <p:spPr bwMode="auto">
          <a:xfrm>
            <a:off x="3378624" y="4861745"/>
            <a:ext cx="19240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C084DBD-DC88-4FD4-9E8A-6BF0AE448DCE}" type="datetime'Моб''''ильн''ая'''''' ''пере''''''''дача ''''дан''''''н''ы''х'">
              <a:rPr lang="en-US" sz="1200">
                <a:solidFill>
                  <a:schemeClr val="tx1"/>
                </a:solidFill>
              </a:rPr>
              <a:pPr/>
              <a:t>Мобильная передача данных</a:t>
            </a:fld>
            <a:endParaRPr lang="en-US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6321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4891088" y="4392484"/>
            <a:ext cx="119062" cy="21308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Объект 7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/>
              <a:t/>
            </a:r>
            <a:br>
              <a:rPr lang="ru-RU" dirty="0"/>
            </a:br>
            <a:endParaRPr lang="en-US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ru-RU" sz="1600" dirty="0"/>
              <a:t>Темпы роста выручки не совпадают с развитием мобильного </a:t>
            </a:r>
            <a:r>
              <a:rPr lang="ru-RU" sz="1600" dirty="0" smtClean="0"/>
              <a:t>интернета</a:t>
            </a:r>
            <a:endParaRPr lang="ru-RU" sz="1600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600" dirty="0"/>
              <a:t>Опрос мобильных операторов показал возможность увеличения доли цифровых </a:t>
            </a:r>
            <a:r>
              <a:rPr lang="ru-RU" sz="1600" dirty="0" smtClean="0"/>
              <a:t>услуг</a:t>
            </a:r>
            <a:endParaRPr lang="ru-RU" sz="1600" dirty="0"/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1100" i="1" dirty="0" smtClean="0">
                <a:solidFill>
                  <a:schemeClr val="bg1"/>
                </a:solidFill>
              </a:rPr>
              <a:t>Источники: </a:t>
            </a:r>
            <a:r>
              <a:rPr lang="en-US" sz="1100" i="1" dirty="0">
                <a:solidFill>
                  <a:schemeClr val="bg1"/>
                </a:solidFill>
              </a:rPr>
              <a:t>A.T. Kearney, </a:t>
            </a:r>
            <a:r>
              <a:rPr lang="en-US" sz="1100" i="1" dirty="0" smtClean="0">
                <a:solidFill>
                  <a:schemeClr val="bg1"/>
                </a:solidFill>
              </a:rPr>
              <a:t>EY</a:t>
            </a:r>
            <a:endParaRPr lang="en-US" sz="1100" i="1" dirty="0">
              <a:solidFill>
                <a:schemeClr val="bg1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185DEA-EC0A-466A-86BE-ACF8F0BABD7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Будущее мобильных операторов лежит в улучшении качества обслуживания и развитии цифровых услуг</a:t>
            </a:r>
            <a:endParaRPr lang="en-US" dirty="0"/>
          </a:p>
        </p:txBody>
      </p:sp>
      <p:grpSp>
        <p:nvGrpSpPr>
          <p:cNvPr id="9" name="Группа 8"/>
          <p:cNvGrpSpPr/>
          <p:nvPr/>
        </p:nvGrpSpPr>
        <p:grpSpPr>
          <a:xfrm>
            <a:off x="285750" y="2049276"/>
            <a:ext cx="4569087" cy="2295583"/>
            <a:chOff x="1779767" y="2331499"/>
            <a:chExt cx="4691893" cy="3307270"/>
          </a:xfrm>
        </p:grpSpPr>
        <p:cxnSp>
          <p:nvCxnSpPr>
            <p:cNvPr id="10" name="Прямая со стрелкой 9"/>
            <p:cNvCxnSpPr/>
            <p:nvPr/>
          </p:nvCxnSpPr>
          <p:spPr>
            <a:xfrm flipV="1">
              <a:off x="1779767" y="2331499"/>
              <a:ext cx="0" cy="3207027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Прямая со стрелкой 10"/>
            <p:cNvCxnSpPr/>
            <p:nvPr/>
          </p:nvCxnSpPr>
          <p:spPr>
            <a:xfrm>
              <a:off x="1788160" y="5538526"/>
              <a:ext cx="4492487" cy="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6" name="Полилиния 15"/>
            <p:cNvSpPr/>
            <p:nvPr/>
          </p:nvSpPr>
          <p:spPr>
            <a:xfrm>
              <a:off x="1788160" y="2651760"/>
              <a:ext cx="3302000" cy="2854960"/>
            </a:xfrm>
            <a:custGeom>
              <a:avLst/>
              <a:gdLst>
                <a:gd name="connsiteX0" fmla="*/ 0 w 3302000"/>
                <a:gd name="connsiteY0" fmla="*/ 2854960 h 2854960"/>
                <a:gd name="connsiteX1" fmla="*/ 1473200 w 3302000"/>
                <a:gd name="connsiteY1" fmla="*/ 2306320 h 2854960"/>
                <a:gd name="connsiteX2" fmla="*/ 2915920 w 3302000"/>
                <a:gd name="connsiteY2" fmla="*/ 1127760 h 2854960"/>
                <a:gd name="connsiteX3" fmla="*/ 3302000 w 3302000"/>
                <a:gd name="connsiteY3" fmla="*/ 0 h 2854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02000" h="2854960">
                  <a:moveTo>
                    <a:pt x="0" y="2854960"/>
                  </a:moveTo>
                  <a:cubicBezTo>
                    <a:pt x="493606" y="2724573"/>
                    <a:pt x="987213" y="2594187"/>
                    <a:pt x="1473200" y="2306320"/>
                  </a:cubicBezTo>
                  <a:cubicBezTo>
                    <a:pt x="1959187" y="2018453"/>
                    <a:pt x="2611120" y="1512147"/>
                    <a:pt x="2915920" y="1127760"/>
                  </a:cubicBezTo>
                  <a:cubicBezTo>
                    <a:pt x="3220720" y="743373"/>
                    <a:pt x="3261360" y="371686"/>
                    <a:pt x="3302000" y="0"/>
                  </a:cubicBezTo>
                </a:path>
              </a:pathLst>
            </a:custGeom>
            <a:no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Полилиния 16"/>
            <p:cNvSpPr/>
            <p:nvPr/>
          </p:nvSpPr>
          <p:spPr>
            <a:xfrm>
              <a:off x="1808480" y="4593178"/>
              <a:ext cx="4459798" cy="933862"/>
            </a:xfrm>
            <a:custGeom>
              <a:avLst/>
              <a:gdLst>
                <a:gd name="connsiteX0" fmla="*/ 0 w 4257040"/>
                <a:gd name="connsiteY0" fmla="*/ 883920 h 883920"/>
                <a:gd name="connsiteX1" fmla="*/ 1960880 w 4257040"/>
                <a:gd name="connsiteY1" fmla="*/ 264160 h 883920"/>
                <a:gd name="connsiteX2" fmla="*/ 4257040 w 4257040"/>
                <a:gd name="connsiteY2" fmla="*/ 0 h 883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57040" h="883920">
                  <a:moveTo>
                    <a:pt x="0" y="883920"/>
                  </a:moveTo>
                  <a:cubicBezTo>
                    <a:pt x="625686" y="647700"/>
                    <a:pt x="1251373" y="411480"/>
                    <a:pt x="1960880" y="264160"/>
                  </a:cubicBezTo>
                  <a:cubicBezTo>
                    <a:pt x="2670387" y="116840"/>
                    <a:pt x="3463713" y="58420"/>
                    <a:pt x="4257040" y="0"/>
                  </a:cubicBezTo>
                </a:path>
              </a:pathLst>
            </a:custGeom>
            <a:noFill/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Полилиния 17"/>
            <p:cNvSpPr/>
            <p:nvPr/>
          </p:nvSpPr>
          <p:spPr>
            <a:xfrm>
              <a:off x="3535680" y="2743200"/>
              <a:ext cx="2651760" cy="2123440"/>
            </a:xfrm>
            <a:custGeom>
              <a:avLst/>
              <a:gdLst>
                <a:gd name="connsiteX0" fmla="*/ 1605280 w 2651760"/>
                <a:gd name="connsiteY0" fmla="*/ 0 h 2123440"/>
                <a:gd name="connsiteX1" fmla="*/ 2651760 w 2651760"/>
                <a:gd name="connsiteY1" fmla="*/ 1757680 h 2123440"/>
                <a:gd name="connsiteX2" fmla="*/ 1483360 w 2651760"/>
                <a:gd name="connsiteY2" fmla="*/ 1838960 h 2123440"/>
                <a:gd name="connsiteX3" fmla="*/ 731520 w 2651760"/>
                <a:gd name="connsiteY3" fmla="*/ 1950720 h 2123440"/>
                <a:gd name="connsiteX4" fmla="*/ 0 w 2651760"/>
                <a:gd name="connsiteY4" fmla="*/ 2123440 h 2123440"/>
                <a:gd name="connsiteX5" fmla="*/ 762000 w 2651760"/>
                <a:gd name="connsiteY5" fmla="*/ 1605280 h 2123440"/>
                <a:gd name="connsiteX6" fmla="*/ 1270000 w 2651760"/>
                <a:gd name="connsiteY6" fmla="*/ 1097280 h 2123440"/>
                <a:gd name="connsiteX7" fmla="*/ 1412240 w 2651760"/>
                <a:gd name="connsiteY7" fmla="*/ 853440 h 2123440"/>
                <a:gd name="connsiteX8" fmla="*/ 1564640 w 2651760"/>
                <a:gd name="connsiteY8" fmla="*/ 426720 h 2123440"/>
                <a:gd name="connsiteX9" fmla="*/ 1605280 w 2651760"/>
                <a:gd name="connsiteY9" fmla="*/ 0 h 2123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51760" h="2123440">
                  <a:moveTo>
                    <a:pt x="1605280" y="0"/>
                  </a:moveTo>
                  <a:lnTo>
                    <a:pt x="2651760" y="1757680"/>
                  </a:lnTo>
                  <a:lnTo>
                    <a:pt x="1483360" y="1838960"/>
                  </a:lnTo>
                  <a:lnTo>
                    <a:pt x="731520" y="1950720"/>
                  </a:lnTo>
                  <a:lnTo>
                    <a:pt x="0" y="2123440"/>
                  </a:lnTo>
                  <a:lnTo>
                    <a:pt x="762000" y="1605280"/>
                  </a:lnTo>
                  <a:lnTo>
                    <a:pt x="1270000" y="1097280"/>
                  </a:lnTo>
                  <a:lnTo>
                    <a:pt x="1412240" y="853440"/>
                  </a:lnTo>
                  <a:lnTo>
                    <a:pt x="1564640" y="426720"/>
                  </a:lnTo>
                  <a:lnTo>
                    <a:pt x="160528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4579683" y="3566265"/>
              <a:ext cx="1419835" cy="9311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dirty="0" smtClean="0">
                  <a:solidFill>
                    <a:schemeClr val="bg1"/>
                  </a:solidFill>
                </a:rPr>
                <a:t>Разрыв </a:t>
              </a:r>
              <a:br>
                <a:rPr lang="ru-RU" sz="1200" dirty="0" smtClean="0">
                  <a:solidFill>
                    <a:schemeClr val="bg1"/>
                  </a:solidFill>
                </a:rPr>
              </a:br>
              <a:r>
                <a:rPr lang="ru-RU" sz="1200" dirty="0" smtClean="0">
                  <a:solidFill>
                    <a:schemeClr val="bg1"/>
                  </a:solidFill>
                </a:rPr>
                <a:t>между доходами и трафиком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4119449" y="2966998"/>
              <a:ext cx="720477" cy="4400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400" dirty="0" smtClean="0"/>
                <a:t>Трафик</a:t>
              </a:r>
              <a:endParaRPr lang="en-US" sz="1400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5546952" y="4628924"/>
              <a:ext cx="762810" cy="4400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400" dirty="0" smtClean="0"/>
                <a:t>Доходы</a:t>
              </a:r>
              <a:endParaRPr lang="en-US" sz="1400" dirty="0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218064" y="5300215"/>
              <a:ext cx="25359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 smtClean="0"/>
                <a:t>t</a:t>
              </a:r>
              <a:endParaRPr lang="en-US" sz="1600" dirty="0"/>
            </a:p>
          </p:txBody>
        </p:sp>
        <p:cxnSp>
          <p:nvCxnSpPr>
            <p:cNvPr id="23" name="Прямая соединительная линия 22"/>
            <p:cNvCxnSpPr/>
            <p:nvPr/>
          </p:nvCxnSpPr>
          <p:spPr>
            <a:xfrm>
              <a:off x="3252063" y="2365530"/>
              <a:ext cx="0" cy="3195540"/>
            </a:xfrm>
            <a:prstGeom prst="line">
              <a:avLst/>
            </a:prstGeom>
            <a:ln w="19050">
              <a:solidFill>
                <a:schemeClr val="accent4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 стрелкой 23"/>
            <p:cNvCxnSpPr/>
            <p:nvPr/>
          </p:nvCxnSpPr>
          <p:spPr>
            <a:xfrm>
              <a:off x="1808480" y="3929269"/>
              <a:ext cx="1407686" cy="0"/>
            </a:xfrm>
            <a:prstGeom prst="straightConnector1">
              <a:avLst/>
            </a:prstGeom>
            <a:ln>
              <a:solidFill>
                <a:schemeClr val="accent4">
                  <a:lumMod val="7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Прямая со стрелкой 24"/>
            <p:cNvCxnSpPr/>
            <p:nvPr/>
          </p:nvCxnSpPr>
          <p:spPr>
            <a:xfrm>
              <a:off x="3442664" y="5373152"/>
              <a:ext cx="2589574" cy="0"/>
            </a:xfrm>
            <a:prstGeom prst="straightConnector1">
              <a:avLst/>
            </a:prstGeom>
            <a:ln>
              <a:solidFill>
                <a:schemeClr val="accent4">
                  <a:lumMod val="7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/>
            <p:cNvSpPr txBox="1"/>
            <p:nvPr/>
          </p:nvSpPr>
          <p:spPr>
            <a:xfrm>
              <a:off x="1800087" y="3303256"/>
              <a:ext cx="1407686" cy="6600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dirty="0" smtClean="0">
                  <a:solidFill>
                    <a:schemeClr val="bg2">
                      <a:lumMod val="50000"/>
                    </a:schemeClr>
                  </a:solidFill>
                </a:rPr>
                <a:t>Преобладание «голоса»</a:t>
              </a:r>
              <a:endParaRPr lang="en-US" sz="1200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3371704" y="5007684"/>
              <a:ext cx="2748280" cy="3960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dirty="0" smtClean="0">
                  <a:solidFill>
                    <a:schemeClr val="bg2">
                      <a:lumMod val="50000"/>
                    </a:schemeClr>
                  </a:solidFill>
                </a:rPr>
                <a:t>Преобладание передачи данных</a:t>
              </a:r>
              <a:endParaRPr lang="en-US" sz="1200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</p:grpSp>
      <p:graphicFrame>
        <p:nvGraphicFramePr>
          <p:cNvPr id="47" name="Диаграмма 46"/>
          <p:cNvGraphicFramePr/>
          <p:nvPr>
            <p:extLst>
              <p:ext uri="{D42A27DB-BD31-4B8C-83A1-F6EECF244321}">
                <p14:modId xmlns:p14="http://schemas.microsoft.com/office/powerpoint/2010/main" val="1526596635"/>
              </p:ext>
            </p:extLst>
          </p:nvPr>
        </p:nvGraphicFramePr>
        <p:xfrm>
          <a:off x="5022893" y="2384324"/>
          <a:ext cx="4763583" cy="19605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9" name="TextBox 48"/>
          <p:cNvSpPr txBox="1"/>
          <p:nvPr/>
        </p:nvSpPr>
        <p:spPr>
          <a:xfrm>
            <a:off x="5022892" y="1897514"/>
            <a:ext cx="47635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Какую долю в выручке Вашей компании займут цифровые услуги через 5 лет?</a:t>
            </a:r>
            <a:endParaRPr lang="en-US" sz="1400" dirty="0"/>
          </a:p>
        </p:txBody>
      </p:sp>
      <p:grpSp>
        <p:nvGrpSpPr>
          <p:cNvPr id="50" name="Группа 49"/>
          <p:cNvGrpSpPr/>
          <p:nvPr/>
        </p:nvGrpSpPr>
        <p:grpSpPr>
          <a:xfrm>
            <a:off x="199274" y="4402953"/>
            <a:ext cx="9587201" cy="2160000"/>
            <a:chOff x="323137" y="4212000"/>
            <a:chExt cx="9324379" cy="2160000"/>
          </a:xfrm>
        </p:grpSpPr>
        <p:sp>
          <p:nvSpPr>
            <p:cNvPr id="51" name="Полилиния 50"/>
            <p:cNvSpPr/>
            <p:nvPr/>
          </p:nvSpPr>
          <p:spPr>
            <a:xfrm>
              <a:off x="323138" y="4212000"/>
              <a:ext cx="4804589" cy="1044000"/>
            </a:xfrm>
            <a:custGeom>
              <a:avLst/>
              <a:gdLst>
                <a:gd name="connsiteX0" fmla="*/ 0 w 4712677"/>
                <a:gd name="connsiteY0" fmla="*/ 0 h 1688123"/>
                <a:gd name="connsiteX1" fmla="*/ 4712677 w 4712677"/>
                <a:gd name="connsiteY1" fmla="*/ 0 h 1688123"/>
                <a:gd name="connsiteX2" fmla="*/ 4712677 w 4712677"/>
                <a:gd name="connsiteY2" fmla="*/ 1688123 h 1688123"/>
                <a:gd name="connsiteX3" fmla="*/ 0 w 4712677"/>
                <a:gd name="connsiteY3" fmla="*/ 1688123 h 1688123"/>
                <a:gd name="connsiteX4" fmla="*/ 0 w 4712677"/>
                <a:gd name="connsiteY4" fmla="*/ 0 h 1688123"/>
                <a:gd name="connsiteX0" fmla="*/ 0 w 4712677"/>
                <a:gd name="connsiteY0" fmla="*/ 14067 h 1702190"/>
                <a:gd name="connsiteX1" fmla="*/ 3953021 w 4712677"/>
                <a:gd name="connsiteY1" fmla="*/ 0 h 1702190"/>
                <a:gd name="connsiteX2" fmla="*/ 4712677 w 4712677"/>
                <a:gd name="connsiteY2" fmla="*/ 1702190 h 1702190"/>
                <a:gd name="connsiteX3" fmla="*/ 0 w 4712677"/>
                <a:gd name="connsiteY3" fmla="*/ 1702190 h 1702190"/>
                <a:gd name="connsiteX4" fmla="*/ 0 w 4712677"/>
                <a:gd name="connsiteY4" fmla="*/ 14067 h 1702190"/>
                <a:gd name="connsiteX0" fmla="*/ 0 w 4712677"/>
                <a:gd name="connsiteY0" fmla="*/ 0 h 1688123"/>
                <a:gd name="connsiteX1" fmla="*/ 3929208 w 4712677"/>
                <a:gd name="connsiteY1" fmla="*/ 221 h 1688123"/>
                <a:gd name="connsiteX2" fmla="*/ 4712677 w 4712677"/>
                <a:gd name="connsiteY2" fmla="*/ 1688123 h 1688123"/>
                <a:gd name="connsiteX3" fmla="*/ 0 w 4712677"/>
                <a:gd name="connsiteY3" fmla="*/ 1688123 h 1688123"/>
                <a:gd name="connsiteX4" fmla="*/ 0 w 4712677"/>
                <a:gd name="connsiteY4" fmla="*/ 0 h 1688123"/>
                <a:gd name="connsiteX0" fmla="*/ 0 w 4712677"/>
                <a:gd name="connsiteY0" fmla="*/ 0 h 1688123"/>
                <a:gd name="connsiteX1" fmla="*/ 4143728 w 4712677"/>
                <a:gd name="connsiteY1" fmla="*/ 222 h 1688123"/>
                <a:gd name="connsiteX2" fmla="*/ 4712677 w 4712677"/>
                <a:gd name="connsiteY2" fmla="*/ 1688123 h 1688123"/>
                <a:gd name="connsiteX3" fmla="*/ 0 w 4712677"/>
                <a:gd name="connsiteY3" fmla="*/ 1688123 h 1688123"/>
                <a:gd name="connsiteX4" fmla="*/ 0 w 4712677"/>
                <a:gd name="connsiteY4" fmla="*/ 0 h 1688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12677" h="1688123">
                  <a:moveTo>
                    <a:pt x="0" y="0"/>
                  </a:moveTo>
                  <a:lnTo>
                    <a:pt x="4143728" y="222"/>
                  </a:lnTo>
                  <a:lnTo>
                    <a:pt x="4712677" y="1688123"/>
                  </a:lnTo>
                  <a:lnTo>
                    <a:pt x="0" y="16881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Полилиния 51"/>
            <p:cNvSpPr/>
            <p:nvPr/>
          </p:nvSpPr>
          <p:spPr>
            <a:xfrm>
              <a:off x="4741597" y="4212000"/>
              <a:ext cx="4905919" cy="2160000"/>
            </a:xfrm>
            <a:custGeom>
              <a:avLst/>
              <a:gdLst>
                <a:gd name="connsiteX0" fmla="*/ 0 w 4521200"/>
                <a:gd name="connsiteY0" fmla="*/ 1092200 h 2184400"/>
                <a:gd name="connsiteX1" fmla="*/ 546100 w 4521200"/>
                <a:gd name="connsiteY1" fmla="*/ 0 h 2184400"/>
                <a:gd name="connsiteX2" fmla="*/ 3975100 w 4521200"/>
                <a:gd name="connsiteY2" fmla="*/ 0 h 2184400"/>
                <a:gd name="connsiteX3" fmla="*/ 4521200 w 4521200"/>
                <a:gd name="connsiteY3" fmla="*/ 1092200 h 2184400"/>
                <a:gd name="connsiteX4" fmla="*/ 3975100 w 4521200"/>
                <a:gd name="connsiteY4" fmla="*/ 2184400 h 2184400"/>
                <a:gd name="connsiteX5" fmla="*/ 546100 w 4521200"/>
                <a:gd name="connsiteY5" fmla="*/ 2184400 h 2184400"/>
                <a:gd name="connsiteX6" fmla="*/ 0 w 4521200"/>
                <a:gd name="connsiteY6" fmla="*/ 1092200 h 2184400"/>
                <a:gd name="connsiteX0" fmla="*/ 0 w 3975100"/>
                <a:gd name="connsiteY0" fmla="*/ 1092200 h 2184400"/>
                <a:gd name="connsiteX1" fmla="*/ 546100 w 3975100"/>
                <a:gd name="connsiteY1" fmla="*/ 0 h 2184400"/>
                <a:gd name="connsiteX2" fmla="*/ 3975100 w 3975100"/>
                <a:gd name="connsiteY2" fmla="*/ 0 h 2184400"/>
                <a:gd name="connsiteX3" fmla="*/ 3975100 w 3975100"/>
                <a:gd name="connsiteY3" fmla="*/ 2184400 h 2184400"/>
                <a:gd name="connsiteX4" fmla="*/ 546100 w 3975100"/>
                <a:gd name="connsiteY4" fmla="*/ 2184400 h 2184400"/>
                <a:gd name="connsiteX5" fmla="*/ 0 w 3975100"/>
                <a:gd name="connsiteY5" fmla="*/ 1092200 h 2184400"/>
                <a:gd name="connsiteX0" fmla="*/ 419100 w 3429000"/>
                <a:gd name="connsiteY0" fmla="*/ 1105043 h 2184400"/>
                <a:gd name="connsiteX1" fmla="*/ 0 w 3429000"/>
                <a:gd name="connsiteY1" fmla="*/ 0 h 2184400"/>
                <a:gd name="connsiteX2" fmla="*/ 3429000 w 3429000"/>
                <a:gd name="connsiteY2" fmla="*/ 0 h 2184400"/>
                <a:gd name="connsiteX3" fmla="*/ 3429000 w 3429000"/>
                <a:gd name="connsiteY3" fmla="*/ 2184400 h 2184400"/>
                <a:gd name="connsiteX4" fmla="*/ 0 w 3429000"/>
                <a:gd name="connsiteY4" fmla="*/ 2184400 h 2184400"/>
                <a:gd name="connsiteX5" fmla="*/ 419100 w 3429000"/>
                <a:gd name="connsiteY5" fmla="*/ 1105043 h 2184400"/>
                <a:gd name="connsiteX0" fmla="*/ 533400 w 3429000"/>
                <a:gd name="connsiteY0" fmla="*/ 1092200 h 2184400"/>
                <a:gd name="connsiteX1" fmla="*/ 0 w 3429000"/>
                <a:gd name="connsiteY1" fmla="*/ 0 h 2184400"/>
                <a:gd name="connsiteX2" fmla="*/ 3429000 w 3429000"/>
                <a:gd name="connsiteY2" fmla="*/ 0 h 2184400"/>
                <a:gd name="connsiteX3" fmla="*/ 3429000 w 3429000"/>
                <a:gd name="connsiteY3" fmla="*/ 2184400 h 2184400"/>
                <a:gd name="connsiteX4" fmla="*/ 0 w 3429000"/>
                <a:gd name="connsiteY4" fmla="*/ 2184400 h 2184400"/>
                <a:gd name="connsiteX5" fmla="*/ 533400 w 3429000"/>
                <a:gd name="connsiteY5" fmla="*/ 1092200 h 2184400"/>
                <a:gd name="connsiteX0" fmla="*/ 387795 w 3429000"/>
                <a:gd name="connsiteY0" fmla="*/ 1097016 h 2184400"/>
                <a:gd name="connsiteX1" fmla="*/ 0 w 3429000"/>
                <a:gd name="connsiteY1" fmla="*/ 0 h 2184400"/>
                <a:gd name="connsiteX2" fmla="*/ 3429000 w 3429000"/>
                <a:gd name="connsiteY2" fmla="*/ 0 h 2184400"/>
                <a:gd name="connsiteX3" fmla="*/ 3429000 w 3429000"/>
                <a:gd name="connsiteY3" fmla="*/ 2184400 h 2184400"/>
                <a:gd name="connsiteX4" fmla="*/ 0 w 3429000"/>
                <a:gd name="connsiteY4" fmla="*/ 2184400 h 2184400"/>
                <a:gd name="connsiteX5" fmla="*/ 387795 w 3429000"/>
                <a:gd name="connsiteY5" fmla="*/ 1097016 h 218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0" h="2184400">
                  <a:moveTo>
                    <a:pt x="387795" y="1097016"/>
                  </a:moveTo>
                  <a:lnTo>
                    <a:pt x="0" y="0"/>
                  </a:lnTo>
                  <a:lnTo>
                    <a:pt x="3429000" y="0"/>
                  </a:lnTo>
                  <a:lnTo>
                    <a:pt x="3429000" y="2184400"/>
                  </a:lnTo>
                  <a:lnTo>
                    <a:pt x="0" y="2184400"/>
                  </a:lnTo>
                  <a:lnTo>
                    <a:pt x="387795" y="1097016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53" name="Полилиния 52"/>
            <p:cNvSpPr/>
            <p:nvPr/>
          </p:nvSpPr>
          <p:spPr>
            <a:xfrm flipV="1">
              <a:off x="323137" y="5328000"/>
              <a:ext cx="4803264" cy="1044000"/>
            </a:xfrm>
            <a:custGeom>
              <a:avLst/>
              <a:gdLst>
                <a:gd name="connsiteX0" fmla="*/ 0 w 4712677"/>
                <a:gd name="connsiteY0" fmla="*/ 0 h 1688123"/>
                <a:gd name="connsiteX1" fmla="*/ 4712677 w 4712677"/>
                <a:gd name="connsiteY1" fmla="*/ 0 h 1688123"/>
                <a:gd name="connsiteX2" fmla="*/ 4712677 w 4712677"/>
                <a:gd name="connsiteY2" fmla="*/ 1688123 h 1688123"/>
                <a:gd name="connsiteX3" fmla="*/ 0 w 4712677"/>
                <a:gd name="connsiteY3" fmla="*/ 1688123 h 1688123"/>
                <a:gd name="connsiteX4" fmla="*/ 0 w 4712677"/>
                <a:gd name="connsiteY4" fmla="*/ 0 h 1688123"/>
                <a:gd name="connsiteX0" fmla="*/ 0 w 4712677"/>
                <a:gd name="connsiteY0" fmla="*/ 14067 h 1702190"/>
                <a:gd name="connsiteX1" fmla="*/ 3953021 w 4712677"/>
                <a:gd name="connsiteY1" fmla="*/ 0 h 1702190"/>
                <a:gd name="connsiteX2" fmla="*/ 4712677 w 4712677"/>
                <a:gd name="connsiteY2" fmla="*/ 1702190 h 1702190"/>
                <a:gd name="connsiteX3" fmla="*/ 0 w 4712677"/>
                <a:gd name="connsiteY3" fmla="*/ 1702190 h 1702190"/>
                <a:gd name="connsiteX4" fmla="*/ 0 w 4712677"/>
                <a:gd name="connsiteY4" fmla="*/ 14067 h 1702190"/>
                <a:gd name="connsiteX0" fmla="*/ 0 w 4712677"/>
                <a:gd name="connsiteY0" fmla="*/ 0 h 1688123"/>
                <a:gd name="connsiteX1" fmla="*/ 3929208 w 4712677"/>
                <a:gd name="connsiteY1" fmla="*/ 221 h 1688123"/>
                <a:gd name="connsiteX2" fmla="*/ 4712677 w 4712677"/>
                <a:gd name="connsiteY2" fmla="*/ 1688123 h 1688123"/>
                <a:gd name="connsiteX3" fmla="*/ 0 w 4712677"/>
                <a:gd name="connsiteY3" fmla="*/ 1688123 h 1688123"/>
                <a:gd name="connsiteX4" fmla="*/ 0 w 4712677"/>
                <a:gd name="connsiteY4" fmla="*/ 0 h 1688123"/>
                <a:gd name="connsiteX0" fmla="*/ 0 w 4712677"/>
                <a:gd name="connsiteY0" fmla="*/ 0 h 1688123"/>
                <a:gd name="connsiteX1" fmla="*/ 4143728 w 4712677"/>
                <a:gd name="connsiteY1" fmla="*/ 222 h 1688123"/>
                <a:gd name="connsiteX2" fmla="*/ 4712677 w 4712677"/>
                <a:gd name="connsiteY2" fmla="*/ 1688123 h 1688123"/>
                <a:gd name="connsiteX3" fmla="*/ 0 w 4712677"/>
                <a:gd name="connsiteY3" fmla="*/ 1688123 h 1688123"/>
                <a:gd name="connsiteX4" fmla="*/ 0 w 4712677"/>
                <a:gd name="connsiteY4" fmla="*/ 0 h 1688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12677" h="1688123">
                  <a:moveTo>
                    <a:pt x="0" y="0"/>
                  </a:moveTo>
                  <a:lnTo>
                    <a:pt x="4143728" y="222"/>
                  </a:lnTo>
                  <a:lnTo>
                    <a:pt x="4712677" y="1688123"/>
                  </a:lnTo>
                  <a:lnTo>
                    <a:pt x="0" y="16881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54" name="Прямоугольник 53"/>
          <p:cNvSpPr/>
          <p:nvPr/>
        </p:nvSpPr>
        <p:spPr>
          <a:xfrm>
            <a:off x="199275" y="5529182"/>
            <a:ext cx="4723229" cy="10054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400" dirty="0" err="1" smtClean="0"/>
              <a:t>Клиентоориентированная</a:t>
            </a:r>
            <a:r>
              <a:rPr lang="ru-RU" sz="1400" dirty="0" smtClean="0"/>
              <a:t> модель взаимодействия с пользователем в сегменте </a:t>
            </a:r>
            <a:r>
              <a:rPr lang="en-US" sz="1400" dirty="0" smtClean="0"/>
              <a:t>digital</a:t>
            </a:r>
            <a:endParaRPr lang="ru-RU" sz="1400" dirty="0" smtClean="0"/>
          </a:p>
          <a:p>
            <a:pPr marL="180975" indent="-180975"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Поколение абонентов, которые выросли в эпоху интернета и имеют высокие требования к сервису</a:t>
            </a:r>
            <a:endParaRPr lang="en-US" sz="1400" dirty="0" smtClean="0"/>
          </a:p>
        </p:txBody>
      </p:sp>
      <p:sp>
        <p:nvSpPr>
          <p:cNvPr id="55" name="Прямоугольник 54"/>
          <p:cNvSpPr/>
          <p:nvPr/>
        </p:nvSpPr>
        <p:spPr>
          <a:xfrm>
            <a:off x="199274" y="4396328"/>
            <a:ext cx="4723230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spcBef>
                <a:spcPts val="2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400" dirty="0" smtClean="0"/>
              <a:t>Рост «тяжелого» трафика (</a:t>
            </a:r>
            <a:r>
              <a:rPr lang="en-US" sz="1400" dirty="0" smtClean="0"/>
              <a:t>TV </a:t>
            </a:r>
            <a:r>
              <a:rPr lang="ru-RU" sz="1400" dirty="0" smtClean="0"/>
              <a:t>и видео)</a:t>
            </a:r>
          </a:p>
          <a:p>
            <a:pPr marL="180000" indent="-180000">
              <a:spcBef>
                <a:spcPts val="2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400" dirty="0" smtClean="0"/>
              <a:t>Развитие </a:t>
            </a:r>
            <a:r>
              <a:rPr lang="en-US" sz="1400" dirty="0" err="1" smtClean="0"/>
              <a:t>mPayment</a:t>
            </a:r>
            <a:r>
              <a:rPr lang="ru-RU" sz="1400" dirty="0" smtClean="0"/>
              <a:t> и мобильной рекламы</a:t>
            </a:r>
          </a:p>
          <a:p>
            <a:pPr marL="180000" indent="-180000">
              <a:spcBef>
                <a:spcPts val="2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400" dirty="0" smtClean="0"/>
              <a:t>Потребность бизнеса в облачных технологиях</a:t>
            </a:r>
          </a:p>
          <a:p>
            <a:pPr marL="180000" indent="-180000">
              <a:spcBef>
                <a:spcPts val="2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400" dirty="0" smtClean="0"/>
              <a:t>Интерес к </a:t>
            </a:r>
            <a:r>
              <a:rPr lang="en-US" sz="1400" dirty="0" smtClean="0"/>
              <a:t>M2M</a:t>
            </a:r>
            <a:r>
              <a:rPr lang="ru-RU" sz="1400" dirty="0" smtClean="0"/>
              <a:t> и технологиям мобильного предприятия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5373277" y="4575012"/>
            <a:ext cx="311465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К 2020 г. цифровые услуги способны обеспечить более 15% выручки оператора при условии: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Повышения качества собственных сервисов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Стратегического партнерства с </a:t>
            </a:r>
            <a:r>
              <a:rPr lang="en-US" sz="1600" dirty="0" smtClean="0"/>
              <a:t>OTT </a:t>
            </a:r>
            <a:r>
              <a:rPr lang="ru-RU" sz="1600" dirty="0" smtClean="0"/>
              <a:t>компаниями</a:t>
            </a:r>
            <a:endParaRPr lang="ru-RU" sz="1600" dirty="0"/>
          </a:p>
        </p:txBody>
      </p:sp>
      <p:grpSp>
        <p:nvGrpSpPr>
          <p:cNvPr id="58" name="Группа 57"/>
          <p:cNvGrpSpPr/>
          <p:nvPr/>
        </p:nvGrpSpPr>
        <p:grpSpPr>
          <a:xfrm>
            <a:off x="8280313" y="4860926"/>
            <a:ext cx="1303822" cy="1331383"/>
            <a:chOff x="6241816" y="3597226"/>
            <a:chExt cx="1123484" cy="1147233"/>
          </a:xfrm>
        </p:grpSpPr>
        <p:grpSp>
          <p:nvGrpSpPr>
            <p:cNvPr id="59" name="Группа 58"/>
            <p:cNvGrpSpPr/>
            <p:nvPr/>
          </p:nvGrpSpPr>
          <p:grpSpPr>
            <a:xfrm>
              <a:off x="6241816" y="3597226"/>
              <a:ext cx="1123484" cy="1147233"/>
              <a:chOff x="6241816" y="3597226"/>
              <a:chExt cx="1123484" cy="1147233"/>
            </a:xfrm>
          </p:grpSpPr>
          <p:graphicFrame>
            <p:nvGraphicFramePr>
              <p:cNvPr id="61" name="Диаграмма 60"/>
              <p:cNvGraphicFramePr/>
              <p:nvPr>
                <p:extLst>
                  <p:ext uri="{D42A27DB-BD31-4B8C-83A1-F6EECF244321}">
                    <p14:modId xmlns:p14="http://schemas.microsoft.com/office/powerpoint/2010/main" val="618572038"/>
                  </p:ext>
                </p:extLst>
              </p:nvPr>
            </p:nvGraphicFramePr>
            <p:xfrm>
              <a:off x="6241816" y="3597226"/>
              <a:ext cx="1123484" cy="1147233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62" name="Овал 61"/>
              <p:cNvSpPr/>
              <p:nvPr/>
            </p:nvSpPr>
            <p:spPr>
              <a:xfrm>
                <a:off x="6519626" y="3887737"/>
                <a:ext cx="569913" cy="569913"/>
              </a:xfrm>
              <a:prstGeom prst="ellipse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b="1" dirty="0"/>
              </a:p>
            </p:txBody>
          </p:sp>
        </p:grpSp>
        <p:sp>
          <p:nvSpPr>
            <p:cNvPr id="60" name="TextBox 59"/>
            <p:cNvSpPr txBox="1"/>
            <p:nvPr/>
          </p:nvSpPr>
          <p:spPr>
            <a:xfrm>
              <a:off x="6519626" y="4024979"/>
              <a:ext cx="581025" cy="2917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 smtClean="0"/>
                <a:t>&gt;</a:t>
              </a:r>
              <a:r>
                <a:rPr lang="ru-RU" sz="1600" b="1" dirty="0" smtClean="0"/>
                <a:t>15%</a:t>
              </a:r>
              <a:endParaRPr lang="ru-RU" sz="16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3873106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Снижение выручки </a:t>
            </a:r>
            <a:r>
              <a:rPr lang="ru-RU" dirty="0" smtClean="0"/>
              <a:t>МегаФона </a:t>
            </a:r>
            <a:r>
              <a:rPr lang="ru-RU" dirty="0"/>
              <a:t>от традиционных услуг компенсировалось ростом доходов от передачи </a:t>
            </a:r>
            <a:r>
              <a:rPr lang="ru-RU" dirty="0" smtClean="0"/>
              <a:t>данных</a:t>
            </a:r>
            <a:endParaRPr lang="en-US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1100" i="1" dirty="0" smtClean="0">
                <a:solidFill>
                  <a:schemeClr val="bg1"/>
                </a:solidFill>
              </a:rPr>
              <a:t>Источники</a:t>
            </a:r>
            <a:r>
              <a:rPr lang="ru-RU" sz="1100" i="1" dirty="0">
                <a:solidFill>
                  <a:schemeClr val="bg1"/>
                </a:solidFill>
              </a:rPr>
              <a:t>: Годовые </a:t>
            </a:r>
            <a:r>
              <a:rPr lang="ru-RU" sz="1100" i="1" dirty="0" smtClean="0">
                <a:solidFill>
                  <a:schemeClr val="bg1"/>
                </a:solidFill>
              </a:rPr>
              <a:t>отчеты МегаФон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185DEA-EC0A-466A-86BE-ACF8F0BABD7C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2"/>
          </p:nvPr>
        </p:nvSpPr>
        <p:spPr>
          <a:xfrm>
            <a:off x="84137" y="1047534"/>
            <a:ext cx="9729165" cy="656144"/>
          </a:xfrm>
          <a:noFill/>
        </p:spPr>
        <p:txBody>
          <a:bodyPr>
            <a:normAutofit/>
          </a:bodyPr>
          <a:lstStyle/>
          <a:p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Выручка ПАО “</a:t>
            </a: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</a:rPr>
              <a:t>Мегафон</a:t>
            </a:r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” по услугам мобильной связи, млрд. руб.</a:t>
            </a:r>
            <a:endParaRPr lang="en-US" sz="2000" dirty="0">
              <a:solidFill>
                <a:schemeClr val="tx2">
                  <a:lumMod val="75000"/>
                </a:schemeClr>
              </a:solidFill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84137" y="1646720"/>
            <a:ext cx="9729165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45" name="Object 2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0163143"/>
              </p:ext>
            </p:extLst>
          </p:nvPr>
        </p:nvGraphicFramePr>
        <p:xfrm>
          <a:off x="776288" y="2513013"/>
          <a:ext cx="8353321" cy="29621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Chart" r:id="rId47" imgW="8353321" imgH="2962170" progId="MSGraph.Chart.8">
                  <p:embed followColorScheme="full"/>
                </p:oleObj>
              </mc:Choice>
              <mc:Fallback>
                <p:oleObj name="Chart" r:id="rId47" imgW="8353321" imgH="296217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776288" y="2513013"/>
                        <a:ext cx="8353321" cy="29621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6" name="Straight Connector 31"/>
          <p:cNvCxnSpPr/>
          <p:nvPr>
            <p:custDataLst>
              <p:tags r:id="rId3"/>
            </p:custDataLst>
          </p:nvPr>
        </p:nvCxnSpPr>
        <p:spPr bwMode="auto">
          <a:xfrm flipV="1">
            <a:off x="5624513" y="2084388"/>
            <a:ext cx="2714625" cy="11430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28"/>
          <p:cNvCxnSpPr/>
          <p:nvPr>
            <p:custDataLst>
              <p:tags r:id="rId4"/>
            </p:custDataLst>
          </p:nvPr>
        </p:nvCxnSpPr>
        <p:spPr bwMode="auto">
          <a:xfrm flipV="1">
            <a:off x="1547813" y="2451100"/>
            <a:ext cx="2714625" cy="390525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50"/>
          <p:cNvSpPr/>
          <p:nvPr>
            <p:custDataLst>
              <p:tags r:id="rId5"/>
            </p:custDataLst>
          </p:nvPr>
        </p:nvSpPr>
        <p:spPr bwMode="auto">
          <a:xfrm>
            <a:off x="5437188" y="541496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0C9D43D-16F9-437F-AAD6-3A3186029126}" type="datetime'''''''''''''''''''2''''0''''1''3'''''''''''''''''''''">
              <a:rPr lang="en-US" sz="1400">
                <a:solidFill>
                  <a:schemeClr val="tx1"/>
                </a:solidFill>
              </a:rPr>
              <a:pPr/>
              <a:t>2013</a:t>
            </a:fld>
            <a:endParaRPr lang="en-US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9" name="Rectangle 43"/>
          <p:cNvSpPr/>
          <p:nvPr>
            <p:custDataLst>
              <p:tags r:id="rId6"/>
            </p:custDataLst>
          </p:nvPr>
        </p:nvSpPr>
        <p:spPr bwMode="auto">
          <a:xfrm>
            <a:off x="6794500" y="541496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7A8F44A-1183-49FB-A015-DBB36FFC8652}" type="datetime'''20''''''''''''1''''''''''''4'">
              <a:rPr lang="en-US" sz="1400">
                <a:solidFill>
                  <a:schemeClr val="tx1"/>
                </a:solidFill>
              </a:rPr>
              <a:pPr/>
              <a:t>2014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0" name="Rectangle 58"/>
          <p:cNvSpPr/>
          <p:nvPr>
            <p:custDataLst>
              <p:tags r:id="rId7"/>
            </p:custDataLst>
          </p:nvPr>
        </p:nvSpPr>
        <p:spPr bwMode="gray">
          <a:xfrm>
            <a:off x="8202613" y="4456113"/>
            <a:ext cx="27463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0580BA2-101E-4F92-981E-C7EB5482511C}" type="datetime'''''''''''''1''''''''''''''''''5''''3'''''''''''''''''''">
              <a:rPr lang="en-US" sz="1200">
                <a:solidFill>
                  <a:schemeClr val="bg1"/>
                </a:solidFill>
              </a:rPr>
              <a:pPr/>
              <a:t>153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51" name="Oval 75"/>
          <p:cNvSpPr/>
          <p:nvPr>
            <p:custDataLst>
              <p:tags r:id="rId8"/>
            </p:custDataLst>
          </p:nvPr>
        </p:nvSpPr>
        <p:spPr bwMode="auto">
          <a:xfrm>
            <a:off x="2686050" y="2509838"/>
            <a:ext cx="438150" cy="273050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3E32F80-23CD-404B-8B4A-23BF85018FC9}" type="datetime'''''''''''''''''+''''''''''''''''''9''''''''''''''''%'''''">
              <a:rPr lang="en-US" sz="1400" b="1">
                <a:solidFill>
                  <a:schemeClr val="tx1"/>
                </a:solidFill>
              </a:rPr>
              <a:pPr/>
              <a:t>+9%</a:t>
            </a:fld>
            <a:endParaRPr lang="en-US" sz="14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2" name="Rectangle 52"/>
          <p:cNvSpPr/>
          <p:nvPr>
            <p:custDataLst>
              <p:tags r:id="rId9"/>
            </p:custDataLst>
          </p:nvPr>
        </p:nvSpPr>
        <p:spPr bwMode="gray">
          <a:xfrm>
            <a:off x="6845300" y="4398963"/>
            <a:ext cx="27463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3F3FDE4-98AA-4530-B8F0-73F5A2283F28}" type="datetime'''''''''''1''''''''6''''''''''''''5'''''''''''''''''''''">
              <a:rPr lang="en-US" sz="1200">
                <a:solidFill>
                  <a:schemeClr val="bg1"/>
                </a:solidFill>
              </a:rPr>
              <a:pPr/>
              <a:t>165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53" name="Rectangle 73"/>
          <p:cNvSpPr/>
          <p:nvPr>
            <p:custDataLst>
              <p:tags r:id="rId10"/>
            </p:custDataLst>
          </p:nvPr>
        </p:nvSpPr>
        <p:spPr bwMode="auto">
          <a:xfrm>
            <a:off x="8151813" y="541496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85B1AB9-3158-4C24-B815-DE272945AB74}" type="datetime'''''''''''''''2''''''''''''0''1''''''''''5'''''">
              <a:rPr lang="en-US" sz="1400">
                <a:solidFill>
                  <a:schemeClr val="tx1"/>
                </a:solidFill>
              </a:rPr>
              <a:pPr/>
              <a:t>2015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4" name="Oval 74"/>
          <p:cNvSpPr/>
          <p:nvPr>
            <p:custDataLst>
              <p:tags r:id="rId11"/>
            </p:custDataLst>
          </p:nvPr>
        </p:nvSpPr>
        <p:spPr bwMode="auto">
          <a:xfrm>
            <a:off x="6762750" y="2005013"/>
            <a:ext cx="438150" cy="273050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D34065A-A16A-4AC1-8C7A-7F9259E46AAE}" type="datetime'''''''''''+''2%'''''''''''''''''''''''''''''''''''''''''">
              <a:rPr lang="en-US" sz="1400" b="1">
                <a:solidFill>
                  <a:schemeClr val="tx1"/>
                </a:solidFill>
              </a:rPr>
              <a:pPr/>
              <a:t>+2%</a:t>
            </a:fld>
            <a:endParaRPr lang="en-US" sz="14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5" name="Rectangle 46"/>
          <p:cNvSpPr/>
          <p:nvPr>
            <p:custDataLst>
              <p:tags r:id="rId12"/>
            </p:custDataLst>
          </p:nvPr>
        </p:nvSpPr>
        <p:spPr bwMode="gray">
          <a:xfrm>
            <a:off x="6883400" y="3508375"/>
            <a:ext cx="196850" cy="182563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DA81D15-0363-422D-9ECF-096840B33B9C}" type="datetime'''''''''''''''''''1''''''''''''3'''''''''''''''''''''''">
              <a:rPr lang="en-US" sz="1200">
                <a:solidFill>
                  <a:schemeClr val="tx1"/>
                </a:solidFill>
              </a:rPr>
              <a:pPr/>
              <a:t>13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6" name="Rectangle 44"/>
          <p:cNvSpPr/>
          <p:nvPr>
            <p:custDataLst>
              <p:tags r:id="rId13"/>
            </p:custDataLst>
          </p:nvPr>
        </p:nvSpPr>
        <p:spPr bwMode="auto">
          <a:xfrm>
            <a:off x="6821488" y="2379663"/>
            <a:ext cx="32226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8A5B0CE-3B40-499F-92B2-123BA1351658}" type="datetime'''2''''''''''''''''''6''''9'''''''''''''''''''''''''''">
              <a:rPr lang="en-US" sz="1400" b="1">
                <a:solidFill>
                  <a:schemeClr val="tx1"/>
                </a:solidFill>
              </a:rPr>
              <a:pPr/>
              <a:t>269</a:t>
            </a:fld>
            <a:endParaRPr lang="en-US" sz="14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7" name="Rectangle 33"/>
          <p:cNvSpPr/>
          <p:nvPr>
            <p:custDataLst>
              <p:tags r:id="rId14"/>
            </p:custDataLst>
          </p:nvPr>
        </p:nvSpPr>
        <p:spPr bwMode="auto">
          <a:xfrm>
            <a:off x="8178800" y="2370138"/>
            <a:ext cx="32226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83EB32E-150D-4771-93EB-5D09812BFF45}" type="datetime'''''''''''''''27''''''0'''''''''''''''''''''''''''''''''">
              <a:rPr lang="en-US" sz="1400" b="1">
                <a:solidFill>
                  <a:schemeClr val="tx1"/>
                </a:solidFill>
              </a:rPr>
              <a:pPr/>
              <a:t>270</a:t>
            </a:fld>
            <a:endParaRPr lang="en-US" sz="14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8" name="Rectangle 51"/>
          <p:cNvSpPr/>
          <p:nvPr>
            <p:custDataLst>
              <p:tags r:id="rId15"/>
            </p:custDataLst>
          </p:nvPr>
        </p:nvSpPr>
        <p:spPr bwMode="auto">
          <a:xfrm>
            <a:off x="5464175" y="2484438"/>
            <a:ext cx="32226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4D5659D-4C65-4441-A5EA-16665D33930A}" type="datetime'''''''''''''''''''''2''''''5''''''''9'''''''''''''''''">
              <a:rPr lang="en-US" sz="1400" b="1">
                <a:solidFill>
                  <a:schemeClr val="tx1"/>
                </a:solidFill>
              </a:rPr>
              <a:pPr/>
              <a:t>259</a:t>
            </a:fld>
            <a:endParaRPr lang="en-US" sz="14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9" name="Rectangle 60"/>
          <p:cNvSpPr/>
          <p:nvPr>
            <p:custDataLst>
              <p:tags r:id="rId16"/>
            </p:custDataLst>
          </p:nvPr>
        </p:nvSpPr>
        <p:spPr bwMode="gray">
          <a:xfrm>
            <a:off x="5487988" y="4365625"/>
            <a:ext cx="27463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C203B75-874A-471F-A7C2-8405AB7B176E}" type="datetime'''''''''''''''''''''''1''''''''7''''''''''''''''''''''''''1'">
              <a:rPr lang="en-US" sz="1200">
                <a:solidFill>
                  <a:schemeClr val="bg1"/>
                </a:solidFill>
              </a:rPr>
              <a:pPr/>
              <a:t>171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60" name="Rectangle 34"/>
          <p:cNvSpPr/>
          <p:nvPr>
            <p:custDataLst>
              <p:tags r:id="rId17"/>
            </p:custDataLst>
          </p:nvPr>
        </p:nvSpPr>
        <p:spPr bwMode="gray">
          <a:xfrm>
            <a:off x="5526088" y="3441700"/>
            <a:ext cx="196850" cy="182563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CCBC756-05F6-4D3C-A1A4-834E0F8E8AA8}" type="datetime'''''''''''''''''''''''''''''13'''''''''''''''''">
              <a:rPr lang="en-US" sz="1200">
                <a:solidFill>
                  <a:schemeClr val="tx1"/>
                </a:solidFill>
              </a:rPr>
              <a:pPr/>
              <a:t>13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1" name="Rectangle 15"/>
          <p:cNvSpPr/>
          <p:nvPr>
            <p:custDataLst>
              <p:tags r:id="rId18"/>
            </p:custDataLst>
          </p:nvPr>
        </p:nvSpPr>
        <p:spPr bwMode="gray">
          <a:xfrm>
            <a:off x="5526088" y="3122613"/>
            <a:ext cx="1968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6C9A7FD-59F5-4971-B8C3-A0C14984C074}" type="datetime'''''''5''''''''''0'''''''''''''''''''''''''''''">
              <a:rPr lang="en-US" sz="1200">
                <a:solidFill>
                  <a:schemeClr val="bg1"/>
                </a:solidFill>
              </a:rPr>
              <a:pPr/>
              <a:t>50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62" name="Rectangle 56"/>
          <p:cNvSpPr/>
          <p:nvPr>
            <p:custDataLst>
              <p:tags r:id="rId19"/>
            </p:custDataLst>
          </p:nvPr>
        </p:nvSpPr>
        <p:spPr bwMode="auto">
          <a:xfrm>
            <a:off x="4075113" y="541496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5EEBD3A-6FB5-4084-AA65-BC308997F9D8}" type="datetime'''''''''''''''''2''01''''''''2'''''''''''''''''''">
              <a:rPr lang="en-US" sz="1400">
                <a:solidFill>
                  <a:schemeClr val="tx1"/>
                </a:solidFill>
              </a:rPr>
              <a:pPr/>
              <a:t>2012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3" name="Rectangle 45"/>
          <p:cNvSpPr/>
          <p:nvPr>
            <p:custDataLst>
              <p:tags r:id="rId20"/>
            </p:custDataLst>
          </p:nvPr>
        </p:nvSpPr>
        <p:spPr bwMode="gray">
          <a:xfrm>
            <a:off x="8240713" y="3627438"/>
            <a:ext cx="196850" cy="182563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DF34106-F47A-4677-8FB2-80E5B48B442B}" type="datetime'''''''''''''''''''''''''''''''''''''''''''''''''''''1''''3'''">
              <a:rPr lang="en-US" sz="1200">
                <a:solidFill>
                  <a:schemeClr val="tx1"/>
                </a:solidFill>
              </a:rPr>
              <a:pPr/>
              <a:t>13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4" name="Rectangle 63"/>
          <p:cNvSpPr/>
          <p:nvPr>
            <p:custDataLst>
              <p:tags r:id="rId21"/>
            </p:custDataLst>
          </p:nvPr>
        </p:nvSpPr>
        <p:spPr bwMode="gray">
          <a:xfrm>
            <a:off x="4125913" y="4379913"/>
            <a:ext cx="27463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DF3A2EB-AD9A-49B2-9C31-1EE3E9989690}" type="datetime'''''''''''''''1''''''''''''''''''''''''6''9'''''''''''">
              <a:rPr lang="en-US" sz="1200">
                <a:solidFill>
                  <a:schemeClr val="bg1"/>
                </a:solidFill>
              </a:rPr>
              <a:pPr/>
              <a:t>169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65" name="Rectangle 72"/>
          <p:cNvSpPr/>
          <p:nvPr>
            <p:custDataLst>
              <p:tags r:id="rId22"/>
            </p:custDataLst>
          </p:nvPr>
        </p:nvSpPr>
        <p:spPr bwMode="gray">
          <a:xfrm>
            <a:off x="4164013" y="3465513"/>
            <a:ext cx="196850" cy="182563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5F70DED-175E-4771-B1A4-33D3C409EB68}" type="datetime'''''1''''''4'''''">
              <a:rPr lang="en-US" sz="1200">
                <a:solidFill>
                  <a:schemeClr val="tx1"/>
                </a:solidFill>
              </a:rPr>
              <a:pPr/>
              <a:t>14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6" name="Rectangle 14"/>
          <p:cNvSpPr/>
          <p:nvPr>
            <p:custDataLst>
              <p:tags r:id="rId23"/>
            </p:custDataLst>
          </p:nvPr>
        </p:nvSpPr>
        <p:spPr bwMode="gray">
          <a:xfrm>
            <a:off x="4164013" y="3213100"/>
            <a:ext cx="1968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B661038-AAB0-4450-9BF8-EE40DEA7C5DF}" type="datetime'''''''''3''''''''''''''''''''''''''''''''''''''''''''''7'''">
              <a:rPr lang="en-US" sz="1200">
                <a:solidFill>
                  <a:schemeClr val="bg1"/>
                </a:solidFill>
              </a:rPr>
              <a:pPr/>
              <a:t>37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67" name="Rectangle 61"/>
          <p:cNvSpPr/>
          <p:nvPr>
            <p:custDataLst>
              <p:tags r:id="rId24"/>
            </p:custDataLst>
          </p:nvPr>
        </p:nvSpPr>
        <p:spPr bwMode="auto">
          <a:xfrm>
            <a:off x="2717800" y="541496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5CEB573-C93D-4292-AE15-169569FA65D7}" type="datetime'''''''2''''''''''''0''''''''''''''1''''''''''''''''''''1'''">
              <a:rPr lang="en-US" sz="1400">
                <a:solidFill>
                  <a:schemeClr val="tx1"/>
                </a:solidFill>
              </a:rPr>
              <a:pPr/>
              <a:t>2011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8" name="Rectangle 62"/>
          <p:cNvSpPr/>
          <p:nvPr>
            <p:custDataLst>
              <p:tags r:id="rId25"/>
            </p:custDataLst>
          </p:nvPr>
        </p:nvSpPr>
        <p:spPr bwMode="auto">
          <a:xfrm>
            <a:off x="2744788" y="2884488"/>
            <a:ext cx="32226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BAE8552-6C89-438E-A71C-118B07655D8E}" type="datetime'''''''''''''''2''''''''''1''''9'''''''''''''''''''">
              <a:rPr lang="en-US" sz="1400" b="1">
                <a:solidFill>
                  <a:schemeClr val="tx1"/>
                </a:solidFill>
              </a:rPr>
              <a:pPr/>
              <a:t>219</a:t>
            </a:fld>
            <a:endParaRPr lang="en-US" sz="14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9" name="Rectangle 53"/>
          <p:cNvSpPr/>
          <p:nvPr>
            <p:custDataLst>
              <p:tags r:id="rId26"/>
            </p:custDataLst>
          </p:nvPr>
        </p:nvSpPr>
        <p:spPr bwMode="gray">
          <a:xfrm>
            <a:off x="2768600" y="4418013"/>
            <a:ext cx="27463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DB0120A-5309-4CCC-B6B0-1055C443ECB8}" type="datetime'''''''''''''''''''''''''''''''''''''''''1''''''''''6''''''''1'">
              <a:rPr lang="en-US" sz="1200">
                <a:solidFill>
                  <a:schemeClr val="bg1"/>
                </a:solidFill>
              </a:rPr>
              <a:pPr/>
              <a:t>161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70" name="Rectangle 47"/>
          <p:cNvSpPr/>
          <p:nvPr>
            <p:custDataLst>
              <p:tags r:id="rId27"/>
            </p:custDataLst>
          </p:nvPr>
        </p:nvSpPr>
        <p:spPr bwMode="gray">
          <a:xfrm>
            <a:off x="2806700" y="3541713"/>
            <a:ext cx="196850" cy="182563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0BC36A1-5363-49AC-92F6-56F5C4104DD4}" type="datetime'''''''''1''''''''''''''''''''''4'''''''''''''">
              <a:rPr lang="en-US" sz="1200">
                <a:solidFill>
                  <a:schemeClr val="tx1"/>
                </a:solidFill>
              </a:rPr>
              <a:pPr/>
              <a:t>14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1" name="Rectangle 13"/>
          <p:cNvSpPr/>
          <p:nvPr>
            <p:custDataLst>
              <p:tags r:id="rId28"/>
            </p:custDataLst>
          </p:nvPr>
        </p:nvSpPr>
        <p:spPr bwMode="gray">
          <a:xfrm>
            <a:off x="2806700" y="3332163"/>
            <a:ext cx="1968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E00CF62-B6BC-4901-9A7E-749ECC9E9F64}" type="datetime'''''2''''''''''''8'''''''''''''''''''">
              <a:rPr lang="en-US" sz="1200">
                <a:solidFill>
                  <a:schemeClr val="bg1"/>
                </a:solidFill>
              </a:rPr>
              <a:pPr/>
              <a:t>28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72" name="Rectangle 67"/>
          <p:cNvSpPr/>
          <p:nvPr>
            <p:custDataLst>
              <p:tags r:id="rId29"/>
            </p:custDataLst>
          </p:nvPr>
        </p:nvSpPr>
        <p:spPr bwMode="auto">
          <a:xfrm>
            <a:off x="1360488" y="541496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17A54C6-8498-4CCE-BC90-5FF4F1BC7D84}" type="datetime'''''''''''''2''''''''''''''''''0''''''1''''''0'''''">
              <a:rPr lang="en-US" sz="1400">
                <a:solidFill>
                  <a:schemeClr val="tx1"/>
                </a:solidFill>
              </a:rPr>
              <a:pPr/>
              <a:t>2010</a:t>
            </a:fld>
            <a:endParaRPr lang="en-US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3" name="Rectangle 68"/>
          <p:cNvSpPr/>
          <p:nvPr>
            <p:custDataLst>
              <p:tags r:id="rId30"/>
            </p:custDataLst>
          </p:nvPr>
        </p:nvSpPr>
        <p:spPr bwMode="auto">
          <a:xfrm>
            <a:off x="1387475" y="3043238"/>
            <a:ext cx="32226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98711C3-C0B3-4C09-A4EB-3BBBE3B75C58}" type="datetime'2''''''0''3'''''''''''''''''''''''''">
              <a:rPr lang="en-US" sz="1400" b="1">
                <a:solidFill>
                  <a:schemeClr val="tx1"/>
                </a:solidFill>
              </a:rPr>
              <a:pPr/>
              <a:t>203</a:t>
            </a:fld>
            <a:endParaRPr lang="en-US" sz="14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4" name="Rectangle 64"/>
          <p:cNvSpPr/>
          <p:nvPr>
            <p:custDataLst>
              <p:tags r:id="rId31"/>
            </p:custDataLst>
          </p:nvPr>
        </p:nvSpPr>
        <p:spPr bwMode="gray">
          <a:xfrm>
            <a:off x="1411288" y="4437063"/>
            <a:ext cx="27463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A278A08-EDB5-41B7-82FE-CB9F058BDF3B}" type="datetime'1''''''''''''''''''''5''''''''''''''''''''''7'''''''''''''''">
              <a:rPr lang="en-US" sz="1200">
                <a:solidFill>
                  <a:schemeClr val="bg1"/>
                </a:solidFill>
              </a:rPr>
              <a:pPr/>
              <a:t>157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75" name="Rectangle 36"/>
          <p:cNvSpPr/>
          <p:nvPr>
            <p:custDataLst>
              <p:tags r:id="rId32"/>
            </p:custDataLst>
          </p:nvPr>
        </p:nvSpPr>
        <p:spPr bwMode="gray">
          <a:xfrm>
            <a:off x="1449388" y="3584575"/>
            <a:ext cx="196850" cy="182563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5631A81-DEA2-4872-89BA-202DB4651DAD}" type="datetime'''''''''1''''''''3'''''''''''''''''''">
              <a:rPr lang="en-US" sz="1200">
                <a:solidFill>
                  <a:schemeClr val="tx1"/>
                </a:solidFill>
              </a:rPr>
              <a:pPr/>
              <a:t>13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6" name="Rectangle 11"/>
          <p:cNvSpPr/>
          <p:nvPr>
            <p:custDataLst>
              <p:tags r:id="rId33"/>
            </p:custDataLst>
          </p:nvPr>
        </p:nvSpPr>
        <p:spPr bwMode="gray">
          <a:xfrm>
            <a:off x="1449388" y="3417888"/>
            <a:ext cx="1968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2AACA23-88BE-4872-988F-50FAA8A60930}" type="datetime'''''2''''''''''''''''''''''''''''0'''">
              <a:rPr lang="en-US" sz="1200">
                <a:solidFill>
                  <a:schemeClr val="bg1"/>
                </a:solidFill>
              </a:rPr>
              <a:pPr/>
              <a:t>20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77" name="Rectangle 38"/>
          <p:cNvSpPr/>
          <p:nvPr>
            <p:custDataLst>
              <p:tags r:id="rId34"/>
            </p:custDataLst>
          </p:nvPr>
        </p:nvSpPr>
        <p:spPr bwMode="auto">
          <a:xfrm>
            <a:off x="1449388" y="3255963"/>
            <a:ext cx="196850" cy="182563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0476100-0FAF-453B-BE93-9C335C54F903}" type="datetime'''''''''''''1''''3'''''''''''''''''''''''">
              <a:rPr lang="en-US" sz="1200">
                <a:solidFill>
                  <a:schemeClr val="tx1"/>
                </a:solidFill>
              </a:rPr>
              <a:pPr/>
              <a:t>13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8" name="Rectangle 17"/>
          <p:cNvSpPr/>
          <p:nvPr>
            <p:custDataLst>
              <p:tags r:id="rId35"/>
            </p:custDataLst>
          </p:nvPr>
        </p:nvSpPr>
        <p:spPr bwMode="gray">
          <a:xfrm>
            <a:off x="8240713" y="3165475"/>
            <a:ext cx="1968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C1CEF44-7462-4D50-9A7B-B8D743F623DC}" type="datetime'8''''''''''''''''''''''''''''''''''0'''">
              <a:rPr lang="en-US" sz="1200">
                <a:solidFill>
                  <a:schemeClr val="bg1"/>
                </a:solidFill>
              </a:rPr>
              <a:pPr/>
              <a:t>80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79" name="Rectangle 16"/>
          <p:cNvSpPr/>
          <p:nvPr>
            <p:custDataLst>
              <p:tags r:id="rId36"/>
            </p:custDataLst>
          </p:nvPr>
        </p:nvSpPr>
        <p:spPr bwMode="gray">
          <a:xfrm>
            <a:off x="6883400" y="3103563"/>
            <a:ext cx="1968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1F64CFD-B700-4D0A-B0AD-2D0A10BE9003}" type="datetime'6''''''''''''7'''''''''''''''''''''''''''''''''''''''''''''">
              <a:rPr lang="en-US" sz="1200">
                <a:solidFill>
                  <a:schemeClr val="bg1"/>
                </a:solidFill>
              </a:rPr>
              <a:pPr/>
              <a:t>67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80" name="Rectangle 57"/>
          <p:cNvSpPr/>
          <p:nvPr>
            <p:custDataLst>
              <p:tags r:id="rId37"/>
            </p:custDataLst>
          </p:nvPr>
        </p:nvSpPr>
        <p:spPr bwMode="auto">
          <a:xfrm>
            <a:off x="4102100" y="2655888"/>
            <a:ext cx="32226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D7BABD1-7022-4A10-93DB-53983EDB4956}" type="datetime'''''''''''''''''''''''''''''''''''''''2''''4''''''''1'''''''">
              <a:rPr lang="en-US" sz="1400" b="1">
                <a:solidFill>
                  <a:schemeClr val="tx1"/>
                </a:solidFill>
              </a:rPr>
              <a:pPr/>
              <a:t>241</a:t>
            </a:fld>
            <a:endParaRPr lang="en-US" sz="14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81" name="Rectangle 76"/>
          <p:cNvSpPr/>
          <p:nvPr>
            <p:custDataLst>
              <p:tags r:id="rId38"/>
            </p:custDataLst>
          </p:nvPr>
        </p:nvSpPr>
        <p:spPr bwMode="auto">
          <a:xfrm>
            <a:off x="6446838" y="5824538"/>
            <a:ext cx="214313" cy="1603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2" name="Rectangle 77"/>
          <p:cNvSpPr/>
          <p:nvPr>
            <p:custDataLst>
              <p:tags r:id="rId39"/>
            </p:custDataLst>
          </p:nvPr>
        </p:nvSpPr>
        <p:spPr bwMode="auto">
          <a:xfrm>
            <a:off x="2044700" y="5824538"/>
            <a:ext cx="214313" cy="160338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3" name="Rectangle 78"/>
          <p:cNvSpPr/>
          <p:nvPr>
            <p:custDataLst>
              <p:tags r:id="rId40"/>
            </p:custDataLst>
          </p:nvPr>
        </p:nvSpPr>
        <p:spPr bwMode="auto">
          <a:xfrm>
            <a:off x="3116263" y="5824538"/>
            <a:ext cx="214313" cy="160338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4" name="Rectangle 79"/>
          <p:cNvSpPr/>
          <p:nvPr>
            <p:custDataLst>
              <p:tags r:id="rId41"/>
            </p:custDataLst>
          </p:nvPr>
        </p:nvSpPr>
        <p:spPr bwMode="auto">
          <a:xfrm>
            <a:off x="5407025" y="5824538"/>
            <a:ext cx="214313" cy="160338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5" name="Rectangle 81"/>
          <p:cNvSpPr/>
          <p:nvPr>
            <p:custDataLst>
              <p:tags r:id="rId42"/>
            </p:custDataLst>
          </p:nvPr>
        </p:nvSpPr>
        <p:spPr bwMode="auto">
          <a:xfrm>
            <a:off x="2309813" y="5819775"/>
            <a:ext cx="704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0E0D64F-D5EF-492B-8D6C-B98369EAD930}" type="datetime'''''V''''A''''''''S-ус''''''''''л''''''уг''''и'''''">
              <a:rPr lang="en-US" sz="1200">
                <a:solidFill>
                  <a:schemeClr val="tx1"/>
                </a:solidFill>
              </a:rPr>
              <a:pPr/>
              <a:t>VAS-услуги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86" name="Rectangle 80"/>
          <p:cNvSpPr/>
          <p:nvPr>
            <p:custDataLst>
              <p:tags r:id="rId43"/>
            </p:custDataLst>
          </p:nvPr>
        </p:nvSpPr>
        <p:spPr bwMode="auto">
          <a:xfrm>
            <a:off x="5672138" y="5819775"/>
            <a:ext cx="6731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4128297-6EF5-4066-A39B-16C69F15D3DE}" type="datetime'''S''''''''''''''''M''S'''','' ''''''''''''M''''''''''MS'''">
              <a:rPr lang="en-US" sz="1200">
                <a:solidFill>
                  <a:schemeClr val="tx1"/>
                </a:solidFill>
              </a:rPr>
              <a:pPr/>
              <a:t>SMS, MMS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87" name="Rectangle 83"/>
          <p:cNvSpPr/>
          <p:nvPr>
            <p:custDataLst>
              <p:tags r:id="rId44"/>
            </p:custDataLst>
          </p:nvPr>
        </p:nvSpPr>
        <p:spPr bwMode="auto">
          <a:xfrm>
            <a:off x="6711950" y="5819775"/>
            <a:ext cx="115093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556449F-81BE-4BBE-BD83-34845D585573}" type="datetime'''Гол''''''''о''''с''''о''вые ''''''у''''слу''''ги'''''''''">
              <a:rPr lang="en-US" sz="1200">
                <a:solidFill>
                  <a:schemeClr val="tx1"/>
                </a:solidFill>
              </a:rPr>
              <a:pPr/>
              <a:t>Голосовые услуги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88" name="Rectangle 82"/>
          <p:cNvSpPr/>
          <p:nvPr>
            <p:custDataLst>
              <p:tags r:id="rId45"/>
            </p:custDataLst>
          </p:nvPr>
        </p:nvSpPr>
        <p:spPr bwMode="auto">
          <a:xfrm>
            <a:off x="3381375" y="5819775"/>
            <a:ext cx="19240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E147987-8634-478B-A821-297248BACFD1}" type="datetime'''Моби''''ль''н''а''''''''я ''переда''ча д''''а''н''н''''''ых'">
              <a:rPr lang="en-US" sz="1200">
                <a:solidFill>
                  <a:schemeClr val="tx1"/>
                </a:solidFill>
              </a:rPr>
              <a:pPr/>
              <a:t>Мобильная передача данных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3900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Объект 6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84139" y="1993691"/>
            <a:ext cx="4806950" cy="2000977"/>
          </a:xfrm>
        </p:spPr>
        <p:txBody>
          <a:bodyPr>
            <a:noAutofit/>
          </a:bodyPr>
          <a:lstStyle/>
          <a:p>
            <a:pPr marL="361950" indent="-3619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900" dirty="0" smtClean="0"/>
              <a:t>Удержание доходов</a:t>
            </a:r>
          </a:p>
          <a:p>
            <a:pPr marL="361950" indent="-3619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900" dirty="0" smtClean="0"/>
              <a:t>Конкуренция </a:t>
            </a:r>
            <a:r>
              <a:rPr lang="ru-RU" sz="1900" dirty="0"/>
              <a:t>не с другими </a:t>
            </a:r>
            <a:r>
              <a:rPr lang="ru-RU" sz="1900" dirty="0" smtClean="0"/>
              <a:t>мобильными операторами</a:t>
            </a:r>
            <a:r>
              <a:rPr lang="ru-RU" sz="1900" dirty="0"/>
              <a:t>, а с OTT </a:t>
            </a:r>
            <a:r>
              <a:rPr lang="ru-RU" sz="1900" dirty="0" smtClean="0"/>
              <a:t>приложениями</a:t>
            </a:r>
            <a:endParaRPr lang="ru-RU" sz="1900" dirty="0"/>
          </a:p>
          <a:p>
            <a:pPr marL="361950" indent="-3619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900" dirty="0" smtClean="0"/>
              <a:t>Переход </a:t>
            </a:r>
            <a:r>
              <a:rPr lang="ru-RU" sz="1900" dirty="0"/>
              <a:t>от ценовой конкуренции к </a:t>
            </a:r>
            <a:r>
              <a:rPr lang="ru-RU" sz="1900" dirty="0" smtClean="0"/>
              <a:t>стимуляции пользования за счет оптимизации тарифных опций</a:t>
            </a:r>
            <a:endParaRPr lang="en-US" sz="1900" dirty="0"/>
          </a:p>
        </p:txBody>
      </p:sp>
      <p:sp>
        <p:nvSpPr>
          <p:cNvPr id="8" name="Объект 7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5015779" y="1993691"/>
            <a:ext cx="4806950" cy="2000977"/>
          </a:xfrm>
        </p:spPr>
        <p:txBody>
          <a:bodyPr>
            <a:normAutofit/>
          </a:bodyPr>
          <a:lstStyle/>
          <a:p>
            <a:pPr marL="361950" indent="-3619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900" dirty="0" smtClean="0"/>
              <a:t>Активное наращивание доходов</a:t>
            </a:r>
          </a:p>
          <a:p>
            <a:pPr marL="361950" indent="-3619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900" dirty="0" smtClean="0"/>
              <a:t>Улучшение предложения для абонентов за счет технологического лидерства на рынке 4</a:t>
            </a:r>
            <a:r>
              <a:rPr lang="en-US" sz="1900" dirty="0" smtClean="0"/>
              <a:t>G/LTE</a:t>
            </a:r>
            <a:endParaRPr lang="ru-RU" sz="1900" dirty="0" smtClean="0"/>
          </a:p>
          <a:p>
            <a:pPr marL="361950" indent="-3619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900" dirty="0" smtClean="0"/>
              <a:t>Развитие </a:t>
            </a:r>
            <a:r>
              <a:rPr lang="ru-RU" sz="1900" dirty="0" smtClean="0"/>
              <a:t>цифровых услуг</a:t>
            </a:r>
            <a:endParaRPr lang="en-US" sz="19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Стратегия на рынке МПД и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VAS</a:t>
            </a:r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-услуг</a:t>
            </a:r>
            <a:endParaRPr lang="en-US" sz="20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6"/>
            <p:custDataLst>
              <p:tags r:id="rId6"/>
            </p:custDataLst>
          </p:nvPr>
        </p:nvSpPr>
        <p:spPr/>
        <p:txBody>
          <a:bodyPr/>
          <a:lstStyle/>
          <a:p>
            <a:fld id="{74185DEA-EC0A-466A-86BE-ACF8F0BABD7C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МегаФону </a:t>
            </a:r>
            <a:r>
              <a:rPr lang="ru-RU" dirty="0"/>
              <a:t>стоит сфокусироваться на быстрорастущих сегментах и удерживать доходы от традиционных услуг </a:t>
            </a:r>
            <a:r>
              <a:rPr lang="ru-RU" dirty="0" smtClean="0"/>
              <a:t>...</a:t>
            </a:r>
            <a:endParaRPr lang="en-US" dirty="0"/>
          </a:p>
        </p:txBody>
      </p:sp>
      <p:sp>
        <p:nvSpPr>
          <p:cNvPr id="12" name="Объект 6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84140" y="4611275"/>
            <a:ext cx="9738588" cy="1961536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rmAutofit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Wingdings" panose="05000000000000000000" pitchFamily="2" charset="2"/>
              <a:buChar char="§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1950" indent="-3619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900" dirty="0" smtClean="0"/>
              <a:t>Демонстрация возможностей новых технологий и роли мобильного оператора в современной жизни</a:t>
            </a:r>
          </a:p>
          <a:p>
            <a:pPr marL="361950" indent="-3619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900" dirty="0" smtClean="0"/>
              <a:t>Информирование абонентов об услугах и приложениях</a:t>
            </a:r>
          </a:p>
          <a:p>
            <a:pPr marL="361950" indent="-3619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900" dirty="0" smtClean="0"/>
              <a:t>Персональные рекомендации на основании активности</a:t>
            </a:r>
          </a:p>
          <a:p>
            <a:pPr marL="361950" indent="-3619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900" dirty="0" smtClean="0"/>
              <a:t>Внедрение элементов геймификации</a:t>
            </a:r>
            <a:endParaRPr lang="en-US" sz="19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  <p:custDataLst>
              <p:tags r:id="rId9"/>
            </p:custDataLst>
          </p:nvPr>
        </p:nvSpPr>
        <p:spPr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Стратегия на рынке традиционных </a:t>
            </a: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</a:rPr>
              <a:t>услуг</a:t>
            </a:r>
            <a:endParaRPr lang="en-US" sz="20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0" name="Текст 5"/>
          <p:cNvSpPr>
            <a:spLocks noGrp="1"/>
          </p:cNvSpPr>
          <p:nvPr>
            <p:ph type="body" sz="quarter" idx="14"/>
            <p:custDataLst>
              <p:tags r:id="rId10"/>
            </p:custDataLst>
          </p:nvPr>
        </p:nvSpPr>
        <p:spPr>
          <a:xfrm>
            <a:off x="-1501" y="6616203"/>
            <a:ext cx="9906000" cy="249349"/>
          </a:xfrm>
        </p:spPr>
        <p:txBody>
          <a:bodyPr/>
          <a:lstStyle/>
          <a:p>
            <a:pPr marL="0" indent="0">
              <a:buNone/>
            </a:pPr>
            <a:endParaRPr lang="en-US" sz="1100" i="1" dirty="0">
              <a:solidFill>
                <a:schemeClr val="bg1"/>
              </a:solidFill>
            </a:endParaRPr>
          </a:p>
        </p:txBody>
      </p:sp>
      <p:sp>
        <p:nvSpPr>
          <p:cNvPr id="21" name="Номер слайда 6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444157" y="6616203"/>
            <a:ext cx="460342" cy="2493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4185DEA-EC0A-466A-86BE-ACF8F0BABD7C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22" name="Текст 10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84139" y="3904138"/>
            <a:ext cx="9738589" cy="707136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indent="0" algn="ctr" defTabSz="742950">
              <a:lnSpc>
                <a:spcPct val="90000"/>
              </a:lnSpc>
              <a:spcBef>
                <a:spcPts val="813"/>
              </a:spcBef>
              <a:buFont typeface="Arial" panose="020B0604020202020204" pitchFamily="34" charset="0"/>
              <a:buNone/>
              <a:defRPr sz="2000">
                <a:solidFill>
                  <a:schemeClr val="tx2">
                    <a:lumMod val="75000"/>
                  </a:schemeClr>
                </a:solidFill>
              </a:defRPr>
            </a:lvl1pPr>
            <a:lvl2pPr marL="55721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950"/>
            </a:lvl2pPr>
            <a:lvl3pPr marL="92868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625"/>
            </a:lvl3pPr>
            <a:lvl4pPr marL="130016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4pPr>
            <a:lvl5pPr marL="167163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5pPr>
            <a:lvl6pPr marL="204311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6pPr>
            <a:lvl7pPr marL="241458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7pPr>
            <a:lvl8pPr marL="278606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8pPr>
            <a:lvl9pPr marL="315753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9pPr>
          </a:lstStyle>
          <a:p>
            <a:r>
              <a:rPr lang="ru-RU" dirty="0" smtClean="0"/>
              <a:t>Стратегия продвижения услуг и повышения </a:t>
            </a:r>
            <a:r>
              <a:rPr lang="ru-RU" dirty="0"/>
              <a:t>лояльности</a:t>
            </a:r>
          </a:p>
        </p:txBody>
      </p:sp>
      <p:cxnSp>
        <p:nvCxnSpPr>
          <p:cNvPr id="23" name="Прямая соединительная линия 4"/>
          <p:cNvCxnSpPr/>
          <p:nvPr>
            <p:custDataLst>
              <p:tags r:id="rId13"/>
            </p:custDataLst>
          </p:nvPr>
        </p:nvCxnSpPr>
        <p:spPr>
          <a:xfrm>
            <a:off x="84139" y="4547903"/>
            <a:ext cx="973858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23728" y="1193442"/>
            <a:ext cx="4187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>
                <a:solidFill>
                  <a:schemeClr val="accent4"/>
                </a:solidFill>
              </a:rPr>
              <a:t>1</a:t>
            </a:r>
            <a:endParaRPr lang="en-US" sz="3600" dirty="0">
              <a:solidFill>
                <a:schemeClr val="accent4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951499" y="1208522"/>
            <a:ext cx="4187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>
                <a:solidFill>
                  <a:schemeClr val="accent4"/>
                </a:solidFill>
              </a:rPr>
              <a:t>2</a:t>
            </a:r>
            <a:endParaRPr lang="en-US" sz="3600" dirty="0">
              <a:solidFill>
                <a:schemeClr val="accent4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7139" y="3935241"/>
            <a:ext cx="4187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>
                <a:solidFill>
                  <a:schemeClr val="accent4"/>
                </a:solidFill>
              </a:rPr>
              <a:t>3</a:t>
            </a:r>
            <a:endParaRPr lang="en-US" sz="3600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8516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Базовый сценарий</a:t>
            </a:r>
            <a:endParaRPr lang="en-US" sz="20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Перспективный сценарий</a:t>
            </a:r>
            <a:endParaRPr lang="en-US" sz="20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1100" i="1" dirty="0" smtClean="0">
                <a:solidFill>
                  <a:schemeClr val="bg1"/>
                </a:solidFill>
              </a:rPr>
              <a:t>Источники:</a:t>
            </a:r>
            <a:endParaRPr lang="en-US" sz="1100" i="1" dirty="0">
              <a:solidFill>
                <a:schemeClr val="bg1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185DEA-EC0A-466A-86BE-ACF8F0BABD7C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… что позволит увеличить среднегодовой рост доходов от мобильной связи с 6% до 11%</a:t>
            </a:r>
            <a:endParaRPr lang="en-US" dirty="0"/>
          </a:p>
        </p:txBody>
      </p:sp>
      <p:graphicFrame>
        <p:nvGraphicFramePr>
          <p:cNvPr id="9" name="Object 8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3104003"/>
              </p:ext>
            </p:extLst>
          </p:nvPr>
        </p:nvGraphicFramePr>
        <p:xfrm>
          <a:off x="541338" y="3027362"/>
          <a:ext cx="3771866" cy="2219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8" name="Chart" r:id="rId49" imgW="3771866" imgH="2219400" progId="MSGraph.Chart.8">
                  <p:embed followColorScheme="full"/>
                </p:oleObj>
              </mc:Choice>
              <mc:Fallback>
                <p:oleObj name="Chart" r:id="rId49" imgW="3771866" imgH="2219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541338" y="3027362"/>
                        <a:ext cx="3771866" cy="2219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>
            <p:custDataLst>
              <p:tags r:id="rId3"/>
            </p:custDataLst>
          </p:nvPr>
        </p:nvCxnSpPr>
        <p:spPr bwMode="auto">
          <a:xfrm flipV="1">
            <a:off x="1231900" y="2717800"/>
            <a:ext cx="2381250" cy="200025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21"/>
          <p:cNvSpPr/>
          <p:nvPr>
            <p:custDataLst>
              <p:tags r:id="rId4"/>
            </p:custDataLst>
          </p:nvPr>
        </p:nvSpPr>
        <p:spPr bwMode="gray">
          <a:xfrm>
            <a:off x="2286000" y="4546600"/>
            <a:ext cx="27463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EB5E50E-E4DD-454D-A7AC-6CB68AAE276D}" type="datetime'''''''''''''''''''''''''''''1''''''50'''''''''''''''''''">
              <a:rPr lang="en-US" sz="1200">
                <a:solidFill>
                  <a:schemeClr val="bg1"/>
                </a:solidFill>
              </a:rPr>
              <a:pPr/>
              <a:t>150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3" name="Rectangle 22"/>
          <p:cNvSpPr/>
          <p:nvPr>
            <p:custDataLst>
              <p:tags r:id="rId5"/>
            </p:custDataLst>
          </p:nvPr>
        </p:nvSpPr>
        <p:spPr bwMode="gray">
          <a:xfrm>
            <a:off x="2324100" y="4065588"/>
            <a:ext cx="196850" cy="182563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A033AE3-F44F-4D46-A94D-4EB274403B08}" type="datetime'''''''''1''''''''''''''1'''''''''''">
              <a:rPr lang="en-US" sz="1200">
                <a:solidFill>
                  <a:schemeClr val="tx1"/>
                </a:solidFill>
              </a:rPr>
              <a:pPr/>
              <a:t>11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4" name="Rectangle 62"/>
          <p:cNvSpPr/>
          <p:nvPr>
            <p:custDataLst>
              <p:tags r:id="rId6"/>
            </p:custDataLst>
          </p:nvPr>
        </p:nvSpPr>
        <p:spPr bwMode="gray">
          <a:xfrm>
            <a:off x="2286000" y="3689350"/>
            <a:ext cx="2746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37E8446-ED66-4CB9-B731-55C4D010C818}" type="datetime'''''''''''''''''''''''''''''''''''1''''''''1''''5'''''''''">
              <a:rPr lang="en-US" sz="1200">
                <a:solidFill>
                  <a:schemeClr val="bg1"/>
                </a:solidFill>
              </a:rPr>
              <a:pPr/>
              <a:t>115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5" name="Rectangle 76"/>
          <p:cNvSpPr/>
          <p:nvPr>
            <p:custDataLst>
              <p:tags r:id="rId7"/>
            </p:custDataLst>
          </p:nvPr>
        </p:nvSpPr>
        <p:spPr bwMode="auto">
          <a:xfrm>
            <a:off x="2324100" y="3275013"/>
            <a:ext cx="196850" cy="182563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169C1DD-215B-4BB9-BC91-46AD42DC0108}" type="datetime'''''''''2''''''''''''''''5'''''''">
              <a:rPr lang="en-US" sz="1200">
                <a:solidFill>
                  <a:schemeClr val="tx1"/>
                </a:solidFill>
              </a:rPr>
              <a:pPr/>
              <a:t>25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6" name="Rectangle 12"/>
          <p:cNvSpPr/>
          <p:nvPr>
            <p:custDataLst>
              <p:tags r:id="rId8"/>
            </p:custDataLst>
          </p:nvPr>
        </p:nvSpPr>
        <p:spPr bwMode="auto">
          <a:xfrm>
            <a:off x="1044575" y="518636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644E115-F3D6-43CE-9DDB-E477FA84D6D4}" type="datetime'''''''2''''0''''''''''''''''''1''''''''''''''''''''6'''''''">
              <a:rPr lang="en-US" sz="1400">
                <a:solidFill>
                  <a:schemeClr val="tx1"/>
                </a:solidFill>
              </a:rPr>
              <a:pPr/>
              <a:t>2016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7" name="Rectangle 25"/>
          <p:cNvSpPr/>
          <p:nvPr>
            <p:custDataLst>
              <p:tags r:id="rId9"/>
            </p:custDataLst>
          </p:nvPr>
        </p:nvSpPr>
        <p:spPr bwMode="auto">
          <a:xfrm>
            <a:off x="1071563" y="3151188"/>
            <a:ext cx="32226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843456C-F7DA-43C4-80BB-10548BC648BA}" type="datetime'''''''2''''''''''''''8''''6'''''''''''''''''''''''''">
              <a:rPr lang="en-US" sz="1400" b="1">
                <a:solidFill>
                  <a:schemeClr val="tx1"/>
                </a:solidFill>
              </a:rPr>
              <a:pPr/>
              <a:t>286</a:t>
            </a:fld>
            <a:endParaRPr lang="en-US" sz="14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8" name="Rectangle 26"/>
          <p:cNvSpPr/>
          <p:nvPr>
            <p:custDataLst>
              <p:tags r:id="rId10"/>
            </p:custDataLst>
          </p:nvPr>
        </p:nvSpPr>
        <p:spPr bwMode="gray">
          <a:xfrm>
            <a:off x="1095375" y="4537075"/>
            <a:ext cx="27463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FA56723-272B-4D0B-8267-A8D1245C29EA}" type="datetime'''''1''''''''''''''''''''''''''''5''''''''3'''''''''''''''''''">
              <a:rPr lang="en-US" sz="1200">
                <a:solidFill>
                  <a:schemeClr val="bg1"/>
                </a:solidFill>
              </a:rPr>
              <a:pPr/>
              <a:t>153</a:t>
            </a:fld>
            <a:endParaRPr lang="en-US" sz="12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9" name="Rectangle 27"/>
          <p:cNvSpPr/>
          <p:nvPr>
            <p:custDataLst>
              <p:tags r:id="rId11"/>
            </p:custDataLst>
          </p:nvPr>
        </p:nvSpPr>
        <p:spPr bwMode="gray">
          <a:xfrm>
            <a:off x="1133475" y="4046538"/>
            <a:ext cx="196850" cy="182563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C9F5E88-D9C7-4E36-8954-A05C242B33D8}" type="datetime'''''''''''''''''1''''''''''''''''''''''''''2'''''''''">
              <a:rPr lang="en-US" sz="1200">
                <a:solidFill>
                  <a:schemeClr val="tx1"/>
                </a:solidFill>
              </a:rPr>
              <a:pPr/>
              <a:t>12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0" name="Rectangle 61"/>
          <p:cNvSpPr/>
          <p:nvPr>
            <p:custDataLst>
              <p:tags r:id="rId12"/>
            </p:custDataLst>
          </p:nvPr>
        </p:nvSpPr>
        <p:spPr bwMode="gray">
          <a:xfrm>
            <a:off x="1133475" y="3727450"/>
            <a:ext cx="1968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8C257DE-3BE5-430C-B890-A055585B37F6}" type="datetime'''''''''''''''''''''''''''''''''''''''9''''6'">
              <a:rPr lang="en-US" sz="1200">
                <a:solidFill>
                  <a:schemeClr val="bg1"/>
                </a:solidFill>
              </a:rPr>
              <a:pPr/>
              <a:t>96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21" name="Rectangle 75"/>
          <p:cNvSpPr/>
          <p:nvPr>
            <p:custDataLst>
              <p:tags r:id="rId13"/>
            </p:custDataLst>
          </p:nvPr>
        </p:nvSpPr>
        <p:spPr bwMode="auto">
          <a:xfrm>
            <a:off x="1133475" y="3370263"/>
            <a:ext cx="196850" cy="182563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DD1CC59-BAC4-479E-A8F8-EFA35064B14B}" type="datetime'''''''''''''''''''2''''''''''''''''''''5'''''''''''">
              <a:rPr lang="en-US" sz="1200">
                <a:solidFill>
                  <a:schemeClr val="tx1"/>
                </a:solidFill>
              </a:rPr>
              <a:pPr/>
              <a:t>25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2" name="Oval 11"/>
          <p:cNvSpPr/>
          <p:nvPr>
            <p:custDataLst>
              <p:tags r:id="rId14"/>
            </p:custDataLst>
          </p:nvPr>
        </p:nvSpPr>
        <p:spPr bwMode="auto">
          <a:xfrm>
            <a:off x="2203450" y="2681288"/>
            <a:ext cx="438150" cy="273050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1B5806B-C0A7-49AB-BDFC-7716151A7232}" type="datetime'''''''''''''''+''''6''''''''''''%'''''">
              <a:rPr lang="en-US" sz="1400" b="1">
                <a:solidFill>
                  <a:schemeClr val="tx1"/>
                </a:solidFill>
              </a:rPr>
              <a:pPr/>
              <a:t>+6%</a:t>
            </a:fld>
            <a:endParaRPr lang="en-US" sz="14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3" name="Rectangle 13"/>
          <p:cNvSpPr/>
          <p:nvPr>
            <p:custDataLst>
              <p:tags r:id="rId15"/>
            </p:custDataLst>
          </p:nvPr>
        </p:nvSpPr>
        <p:spPr bwMode="auto">
          <a:xfrm>
            <a:off x="3425825" y="518636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79B3C0F-DBF2-401F-BB3A-3AE492754685}" type="datetime'''''2''''''''0''''''''''''''''1''''''''''''''''8'''''">
              <a:rPr lang="en-US" sz="1400">
                <a:solidFill>
                  <a:schemeClr val="tx1"/>
                </a:solidFill>
              </a:rPr>
              <a:pPr/>
              <a:t>2018</a:t>
            </a:fld>
            <a:endParaRPr lang="en-US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4" name="Rectangle 15"/>
          <p:cNvSpPr/>
          <p:nvPr>
            <p:custDataLst>
              <p:tags r:id="rId16"/>
            </p:custDataLst>
          </p:nvPr>
        </p:nvSpPr>
        <p:spPr bwMode="auto">
          <a:xfrm>
            <a:off x="3452813" y="2951163"/>
            <a:ext cx="32226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E0AFBFD-668E-4E96-95EE-3F11714E8E30}" type="datetime'3''''''''''''''''''1''''''8'''''">
              <a:rPr lang="en-US" sz="1400" b="1">
                <a:solidFill>
                  <a:schemeClr val="tx1"/>
                </a:solidFill>
              </a:rPr>
              <a:pPr/>
              <a:t>318</a:t>
            </a:fld>
            <a:endParaRPr lang="en-US" sz="14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5" name="Rectangle 16"/>
          <p:cNvSpPr/>
          <p:nvPr>
            <p:custDataLst>
              <p:tags r:id="rId17"/>
            </p:custDataLst>
          </p:nvPr>
        </p:nvSpPr>
        <p:spPr bwMode="gray">
          <a:xfrm>
            <a:off x="3476625" y="4560888"/>
            <a:ext cx="27463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10A1224-995A-460C-8CAE-718F2BA1494F}" type="datetime'''''''1''''''''''''''''''''''''4''''''''''''''''''''''6'''">
              <a:rPr lang="en-US" sz="1200">
                <a:solidFill>
                  <a:schemeClr val="bg1"/>
                </a:solidFill>
              </a:rPr>
              <a:pPr/>
              <a:t>146</a:t>
            </a:fld>
            <a:endParaRPr lang="en-US" sz="12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26" name="Rectangle 17"/>
          <p:cNvSpPr/>
          <p:nvPr>
            <p:custDataLst>
              <p:tags r:id="rId18"/>
            </p:custDataLst>
          </p:nvPr>
        </p:nvSpPr>
        <p:spPr bwMode="gray">
          <a:xfrm>
            <a:off x="3514725" y="4098925"/>
            <a:ext cx="196850" cy="182563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C95DFF7-7A2D-437C-8B5C-B5FCC451159E}" type="datetime'''''1''''''''''''''''''''''''''''''''''''''0'''">
              <a:rPr lang="en-US" sz="1200">
                <a:solidFill>
                  <a:schemeClr val="tx1"/>
                </a:solidFill>
              </a:rPr>
              <a:pPr/>
              <a:t>10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7" name="Rectangle 63"/>
          <p:cNvSpPr/>
          <p:nvPr>
            <p:custDataLst>
              <p:tags r:id="rId19"/>
            </p:custDataLst>
          </p:nvPr>
        </p:nvSpPr>
        <p:spPr bwMode="gray">
          <a:xfrm>
            <a:off x="3476625" y="3660775"/>
            <a:ext cx="2746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F490808-B66B-4E87-9FF1-E34D6F7EF2CD}" type="datetime'1''''''''3''''''8'''''''">
              <a:rPr lang="en-US" sz="1200">
                <a:solidFill>
                  <a:schemeClr val="bg1"/>
                </a:solidFill>
              </a:rPr>
              <a:pPr/>
              <a:t>138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28" name="Rectangle 14"/>
          <p:cNvSpPr/>
          <p:nvPr>
            <p:custDataLst>
              <p:tags r:id="rId20"/>
            </p:custDataLst>
          </p:nvPr>
        </p:nvSpPr>
        <p:spPr bwMode="auto">
          <a:xfrm>
            <a:off x="2235200" y="518636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5012CE3-53FB-4F10-9EE8-F3CC954086A1}" type="datetime'''''''2''''''0''''''''''''''1''''''7'''''">
              <a:rPr lang="en-US" sz="1400">
                <a:solidFill>
                  <a:schemeClr val="tx1"/>
                </a:solidFill>
              </a:rPr>
              <a:pPr/>
              <a:t>2017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9" name="Rectangle 20"/>
          <p:cNvSpPr/>
          <p:nvPr>
            <p:custDataLst>
              <p:tags r:id="rId21"/>
            </p:custDataLst>
          </p:nvPr>
        </p:nvSpPr>
        <p:spPr bwMode="auto">
          <a:xfrm>
            <a:off x="2262188" y="3055938"/>
            <a:ext cx="32226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1D9AD64-7274-4965-B7E3-C587735C6004}" type="datetime'''''''''''''''''''''''''''''''3''''''''0''''''''1'''''">
              <a:rPr lang="en-US" sz="1400" b="1">
                <a:solidFill>
                  <a:schemeClr val="tx1"/>
                </a:solidFill>
              </a:rPr>
              <a:pPr/>
              <a:t>301</a:t>
            </a:fld>
            <a:endParaRPr lang="en-US" sz="14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0" name="Rectangle 32"/>
          <p:cNvSpPr/>
          <p:nvPr>
            <p:custDataLst>
              <p:tags r:id="rId22"/>
            </p:custDataLst>
          </p:nvPr>
        </p:nvSpPr>
        <p:spPr bwMode="auto">
          <a:xfrm>
            <a:off x="6446838" y="5778500"/>
            <a:ext cx="214313" cy="1603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>
            <p:custDataLst>
              <p:tags r:id="rId23"/>
            </p:custDataLst>
          </p:nvPr>
        </p:nvSpPr>
        <p:spPr bwMode="auto">
          <a:xfrm>
            <a:off x="5407025" y="5778500"/>
            <a:ext cx="214313" cy="160338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>
            <p:custDataLst>
              <p:tags r:id="rId24"/>
            </p:custDataLst>
          </p:nvPr>
        </p:nvSpPr>
        <p:spPr bwMode="auto">
          <a:xfrm>
            <a:off x="3116263" y="5778500"/>
            <a:ext cx="214313" cy="160338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3" name="Rectangle 33"/>
          <p:cNvSpPr/>
          <p:nvPr>
            <p:custDataLst>
              <p:tags r:id="rId25"/>
            </p:custDataLst>
          </p:nvPr>
        </p:nvSpPr>
        <p:spPr bwMode="auto">
          <a:xfrm>
            <a:off x="2044700" y="5778500"/>
            <a:ext cx="214313" cy="160338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4" name="Rectangle 36"/>
          <p:cNvSpPr/>
          <p:nvPr>
            <p:custDataLst>
              <p:tags r:id="rId26"/>
            </p:custDataLst>
          </p:nvPr>
        </p:nvSpPr>
        <p:spPr bwMode="auto">
          <a:xfrm>
            <a:off x="6711950" y="5773738"/>
            <a:ext cx="115093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4EBCED6-DE2A-4966-BA56-A20235AB0AC7}" type="datetime'Г''''''о''л''о''''''сов''''ые'''''''''' ''усл''''''''уг''и'''">
              <a:rPr lang="en-US" sz="1200">
                <a:solidFill>
                  <a:schemeClr val="tx1"/>
                </a:solidFill>
              </a:rPr>
              <a:pPr/>
              <a:t>Голосовые услуги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5" name="Rectangle 35"/>
          <p:cNvSpPr/>
          <p:nvPr>
            <p:custDataLst>
              <p:tags r:id="rId27"/>
            </p:custDataLst>
          </p:nvPr>
        </p:nvSpPr>
        <p:spPr bwMode="auto">
          <a:xfrm>
            <a:off x="5672138" y="5773738"/>
            <a:ext cx="6731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6C5BBB1-0831-47F4-ACC0-74D07186146E}" type="datetime'''S''''''''M''''S'''''','''''''' ''MM''''''''''''''''S'''">
              <a:rPr lang="en-US" sz="1200">
                <a:solidFill>
                  <a:schemeClr val="tx1"/>
                </a:solidFill>
              </a:rPr>
              <a:pPr/>
              <a:t>SMS, MMS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6" name="Rectangle 37"/>
          <p:cNvSpPr/>
          <p:nvPr>
            <p:custDataLst>
              <p:tags r:id="rId28"/>
            </p:custDataLst>
          </p:nvPr>
        </p:nvSpPr>
        <p:spPr bwMode="auto">
          <a:xfrm>
            <a:off x="3381375" y="5773738"/>
            <a:ext cx="19240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793BCF7-4EC9-4675-AF11-818662400622}" type="datetime'''Мо''бил''ьная ''пере''''''''дача ''''''да''''нн''ых'">
              <a:rPr lang="en-US" sz="1200">
                <a:solidFill>
                  <a:schemeClr val="tx1"/>
                </a:solidFill>
              </a:rPr>
              <a:pPr/>
              <a:t>Мобильная передача данных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7" name="Rectangle 34"/>
          <p:cNvSpPr/>
          <p:nvPr>
            <p:custDataLst>
              <p:tags r:id="rId29"/>
            </p:custDataLst>
          </p:nvPr>
        </p:nvSpPr>
        <p:spPr bwMode="auto">
          <a:xfrm>
            <a:off x="2309813" y="5773738"/>
            <a:ext cx="704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63B36BA-C41D-4AA2-BC8A-A0A4D4ADF15B}" type="datetime'VAS-''''''''''''''''ус''''лу''''''г''''''''''''''и'''''">
              <a:rPr lang="en-US" sz="1200">
                <a:solidFill>
                  <a:schemeClr val="tx1"/>
                </a:solidFill>
              </a:rPr>
              <a:pPr/>
              <a:t>VAS-услуги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graphicFrame>
        <p:nvGraphicFramePr>
          <p:cNvPr id="38" name="Object 38"/>
          <p:cNvGraphicFramePr>
            <a:graphicFrameLocks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749376257"/>
              </p:ext>
            </p:extLst>
          </p:nvPr>
        </p:nvGraphicFramePr>
        <p:xfrm>
          <a:off x="5549900" y="2763838"/>
          <a:ext cx="3857498" cy="2476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9" name="Chart" r:id="rId51" imgW="3857498" imgH="2476440" progId="MSGraph.Chart.8">
                  <p:embed followColorScheme="full"/>
                </p:oleObj>
              </mc:Choice>
              <mc:Fallback>
                <p:oleObj name="Chart" r:id="rId51" imgW="3857498" imgH="247644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5549900" y="2763838"/>
                        <a:ext cx="3857498" cy="2476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9" name="Straight Connector 39"/>
          <p:cNvCxnSpPr/>
          <p:nvPr>
            <p:custDataLst>
              <p:tags r:id="rId31"/>
            </p:custDataLst>
          </p:nvPr>
        </p:nvCxnSpPr>
        <p:spPr bwMode="auto">
          <a:xfrm flipV="1">
            <a:off x="6249988" y="2478088"/>
            <a:ext cx="2438400" cy="41910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51"/>
          <p:cNvSpPr/>
          <p:nvPr>
            <p:custDataLst>
              <p:tags r:id="rId32"/>
            </p:custDataLst>
          </p:nvPr>
        </p:nvSpPr>
        <p:spPr bwMode="gray">
          <a:xfrm>
            <a:off x="7370763" y="4059238"/>
            <a:ext cx="196850" cy="182563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45AD6DE-73C1-40D7-8911-A1FD914B3768}" type="datetime'''''''''''''''''''''''''''''''''1''''''''3'''''''''''''''">
              <a:rPr lang="en-US" sz="1200">
                <a:solidFill>
                  <a:schemeClr val="tx1"/>
                </a:solidFill>
              </a:rPr>
              <a:pPr/>
              <a:t>13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1" name="Rectangle 44"/>
          <p:cNvSpPr/>
          <p:nvPr>
            <p:custDataLst>
              <p:tags r:id="rId33"/>
            </p:custDataLst>
          </p:nvPr>
        </p:nvSpPr>
        <p:spPr bwMode="auto">
          <a:xfrm>
            <a:off x="8528050" y="2687638"/>
            <a:ext cx="32226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AB6BCB2-BDEF-415B-BE92-20EF7DF02670}" type="datetime'''''''''''''''''''3''''''''''''6''6'''''''''''''''''''''">
              <a:rPr lang="en-US" sz="1400" b="1">
                <a:solidFill>
                  <a:schemeClr val="tx1"/>
                </a:solidFill>
              </a:rPr>
              <a:pPr/>
              <a:t>366</a:t>
            </a:fld>
            <a:endParaRPr lang="en-US" sz="14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2" name="Rectangle 56"/>
          <p:cNvSpPr/>
          <p:nvPr>
            <p:custDataLst>
              <p:tags r:id="rId34"/>
            </p:custDataLst>
          </p:nvPr>
        </p:nvSpPr>
        <p:spPr bwMode="gray">
          <a:xfrm>
            <a:off x="6151563" y="4054475"/>
            <a:ext cx="196850" cy="182563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D07AD7D-6162-4359-99FD-C10D77CB198C}" type="datetime'''''''''''''''1''''''''''''''3'''''''''''''''''">
              <a:rPr lang="en-US" sz="1200">
                <a:solidFill>
                  <a:schemeClr val="tx1"/>
                </a:solidFill>
              </a:rPr>
              <a:pPr/>
              <a:t>13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3" name="Rectangle 50"/>
          <p:cNvSpPr/>
          <p:nvPr>
            <p:custDataLst>
              <p:tags r:id="rId35"/>
            </p:custDataLst>
          </p:nvPr>
        </p:nvSpPr>
        <p:spPr bwMode="gray">
          <a:xfrm>
            <a:off x="7332663" y="4545013"/>
            <a:ext cx="27463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DFF5204-33B1-46E5-A022-02619E983C45}" type="datetime'''1''''''''''''''''''''''''5''''''''''''''''''''''''3'''">
              <a:rPr lang="en-US" sz="1200">
                <a:solidFill>
                  <a:schemeClr val="bg1"/>
                </a:solidFill>
              </a:rPr>
              <a:pPr/>
              <a:t>153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44" name="Rectangle 45"/>
          <p:cNvSpPr/>
          <p:nvPr>
            <p:custDataLst>
              <p:tags r:id="rId36"/>
            </p:custDataLst>
          </p:nvPr>
        </p:nvSpPr>
        <p:spPr bwMode="gray">
          <a:xfrm>
            <a:off x="8551863" y="4549775"/>
            <a:ext cx="27463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4B409F2-6CFC-4BD4-AC17-AAC5EDEAB937}" type="datetime'''''''15''''''''2'''''''''''''''''">
              <a:rPr lang="en-US" sz="1200">
                <a:solidFill>
                  <a:schemeClr val="bg1"/>
                </a:solidFill>
              </a:rPr>
              <a:pPr/>
              <a:t>152</a:t>
            </a:fld>
            <a:endParaRPr lang="en-US" sz="12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45" name="Rectangle 43"/>
          <p:cNvSpPr/>
          <p:nvPr>
            <p:custDataLst>
              <p:tags r:id="rId37"/>
            </p:custDataLst>
          </p:nvPr>
        </p:nvSpPr>
        <p:spPr bwMode="auto">
          <a:xfrm>
            <a:off x="7281863" y="518953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4BFBFF2-0706-4BDD-AA66-D444BCA4D636}" type="datetime'''2''''''''''''''''''''''''0''''''''1''''''''''''7'''''''''''">
              <a:rPr lang="en-US" sz="1400">
                <a:solidFill>
                  <a:schemeClr val="tx1"/>
                </a:solidFill>
              </a:rPr>
              <a:pPr/>
              <a:t>2017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6" name="Rectangle 55"/>
          <p:cNvSpPr/>
          <p:nvPr>
            <p:custDataLst>
              <p:tags r:id="rId38"/>
            </p:custDataLst>
          </p:nvPr>
        </p:nvSpPr>
        <p:spPr bwMode="gray">
          <a:xfrm>
            <a:off x="6113463" y="4545013"/>
            <a:ext cx="27463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35E3C3C-CDD9-46DB-AB45-85A6DE52DCD7}" type="datetime'''''''''''''''''''1''''''''''''5''''''''''''''''3'''''''''">
              <a:rPr lang="en-US" sz="1200">
                <a:solidFill>
                  <a:schemeClr val="bg1"/>
                </a:solidFill>
              </a:rPr>
              <a:pPr/>
              <a:t>153</a:t>
            </a:fld>
            <a:endParaRPr lang="en-US" sz="12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47" name="Rectangle 41"/>
          <p:cNvSpPr/>
          <p:nvPr>
            <p:custDataLst>
              <p:tags r:id="rId39"/>
            </p:custDataLst>
          </p:nvPr>
        </p:nvSpPr>
        <p:spPr bwMode="auto">
          <a:xfrm>
            <a:off x="6062663" y="518953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F37EE7D-7F58-4AA0-BB24-069E6C86E3BD}" type="datetime'''''''''2''0''''''''''''1''''''''''''''''6'''''''''''''''">
              <a:rPr lang="en-US" sz="1400">
                <a:solidFill>
                  <a:schemeClr val="tx1"/>
                </a:solidFill>
              </a:rPr>
              <a:pPr/>
              <a:t>2016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8" name="Rectangle 54"/>
          <p:cNvSpPr/>
          <p:nvPr>
            <p:custDataLst>
              <p:tags r:id="rId40"/>
            </p:custDataLst>
          </p:nvPr>
        </p:nvSpPr>
        <p:spPr bwMode="auto">
          <a:xfrm>
            <a:off x="6089650" y="3106738"/>
            <a:ext cx="32226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1AB62F1-B3DE-431B-9D92-D03FB25F15B1}" type="datetime'''''''''2''''''''''''''''''''''''9''''''5'">
              <a:rPr lang="en-US" sz="1400" b="1">
                <a:solidFill>
                  <a:schemeClr val="tx1"/>
                </a:solidFill>
              </a:rPr>
              <a:pPr/>
              <a:t>295</a:t>
            </a:fld>
            <a:endParaRPr lang="en-US" sz="14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9" name="Oval 40"/>
          <p:cNvSpPr/>
          <p:nvPr>
            <p:custDataLst>
              <p:tags r:id="rId41"/>
            </p:custDataLst>
          </p:nvPr>
        </p:nvSpPr>
        <p:spPr bwMode="auto">
          <a:xfrm>
            <a:off x="7186613" y="2551113"/>
            <a:ext cx="566738" cy="273050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CC3CBD9-9B22-45EB-A0E9-CA6FC0BCE8EC}" type="datetime'''''''''''''''''''''''''+''''''''''1''''1''''''''''''''''%'''">
              <a:rPr lang="en-US" sz="1400" b="1">
                <a:solidFill>
                  <a:schemeClr val="tx1"/>
                </a:solidFill>
              </a:rPr>
              <a:pPr/>
              <a:t>+11%</a:t>
            </a:fld>
            <a:endParaRPr lang="en-US" sz="14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0" name="Rectangle 42"/>
          <p:cNvSpPr/>
          <p:nvPr>
            <p:custDataLst>
              <p:tags r:id="rId42"/>
            </p:custDataLst>
          </p:nvPr>
        </p:nvSpPr>
        <p:spPr bwMode="auto">
          <a:xfrm>
            <a:off x="8501063" y="518953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9CEB904-80E4-4F00-84B2-B25A2B02F362}" type="datetime'2''''''0''''''1''''''''''''''''''8'''''''''''''''''">
              <a:rPr lang="en-US" sz="1400">
                <a:solidFill>
                  <a:schemeClr val="tx1"/>
                </a:solidFill>
              </a:rPr>
              <a:pPr/>
              <a:t>2018</a:t>
            </a:fld>
            <a:endParaRPr lang="en-US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1" name="Rectangle 46"/>
          <p:cNvSpPr/>
          <p:nvPr>
            <p:custDataLst>
              <p:tags r:id="rId43"/>
            </p:custDataLst>
          </p:nvPr>
        </p:nvSpPr>
        <p:spPr bwMode="gray">
          <a:xfrm>
            <a:off x="8589963" y="4064000"/>
            <a:ext cx="196850" cy="182563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9FDB831-14C8-4A06-BF84-AC6F2A1B1699}" type="datetime'''''''1''''''''''''''''''''''''''''''''''3'">
              <a:rPr lang="en-US" sz="1200">
                <a:solidFill>
                  <a:schemeClr val="tx1"/>
                </a:solidFill>
              </a:rPr>
              <a:pPr/>
              <a:t>13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2" name="Rectangle 74"/>
          <p:cNvSpPr/>
          <p:nvPr>
            <p:custDataLst>
              <p:tags r:id="rId44"/>
            </p:custDataLst>
          </p:nvPr>
        </p:nvSpPr>
        <p:spPr bwMode="gray">
          <a:xfrm>
            <a:off x="8551863" y="3506788"/>
            <a:ext cx="2746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D78CD06-8B2B-4902-A472-921899135973}" type="datetime'''''''17''''''''6'''''''''''''">
              <a:rPr lang="en-US" sz="1200">
                <a:solidFill>
                  <a:schemeClr val="bg1"/>
                </a:solidFill>
              </a:rPr>
              <a:pPr/>
              <a:t>176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53" name="Rectangle 72"/>
          <p:cNvSpPr/>
          <p:nvPr>
            <p:custDataLst>
              <p:tags r:id="rId45"/>
            </p:custDataLst>
          </p:nvPr>
        </p:nvSpPr>
        <p:spPr bwMode="gray">
          <a:xfrm>
            <a:off x="6113463" y="3711575"/>
            <a:ext cx="2746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7E995DC-3D28-4D88-A932-83016D3252ED}" type="datetime'''''''''''''''''''''''''''1''''''''''0''''''''''''4'''''''''">
              <a:rPr lang="en-US" sz="1200">
                <a:solidFill>
                  <a:schemeClr val="bg1"/>
                </a:solidFill>
              </a:rPr>
              <a:pPr/>
              <a:t>104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54" name="Rectangle 73"/>
          <p:cNvSpPr/>
          <p:nvPr>
            <p:custDataLst>
              <p:tags r:id="rId46"/>
            </p:custDataLst>
          </p:nvPr>
        </p:nvSpPr>
        <p:spPr bwMode="gray">
          <a:xfrm>
            <a:off x="7332663" y="3625850"/>
            <a:ext cx="2746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6EF839C-A717-4B76-A37D-3E511CC82461}" type="datetime'''''''''''''''''''''''''''''''''''''''''''''''''''1''35'''">
              <a:rPr lang="en-US" sz="1200">
                <a:solidFill>
                  <a:schemeClr val="bg1"/>
                </a:solidFill>
              </a:rPr>
              <a:pPr/>
              <a:t>135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55" name="Rectangle 49"/>
          <p:cNvSpPr/>
          <p:nvPr>
            <p:custDataLst>
              <p:tags r:id="rId47"/>
            </p:custDataLst>
          </p:nvPr>
        </p:nvSpPr>
        <p:spPr bwMode="auto">
          <a:xfrm>
            <a:off x="7308850" y="2925763"/>
            <a:ext cx="32226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E01BD43-5556-4857-AF5E-2CF68E25768C}" type="datetime'''''''''''''3''''''''''''''''2''''''''''''''''''6'''">
              <a:rPr lang="en-US" sz="1400" b="1">
                <a:solidFill>
                  <a:schemeClr val="tx1"/>
                </a:solidFill>
              </a:rPr>
              <a:pPr/>
              <a:t>326</a:t>
            </a:fld>
            <a:endParaRPr lang="en-US" sz="1400" b="1">
              <a:solidFill>
                <a:schemeClr val="tx1"/>
              </a:solidFill>
              <a:latin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83484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4908139" y="4610101"/>
            <a:ext cx="107640" cy="512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3" name="think-cell Slide" r:id="rId90" imgW="270" imgH="270" progId="TCLayout.ActiveDocument.1">
                  <p:embed/>
                </p:oleObj>
              </mc:Choice>
              <mc:Fallback>
                <p:oleObj name="think-cell Slide" r:id="rId9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Calibri"/>
              <a:sym typeface="Calibri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solidFill>
            <a:schemeClr val="tx2"/>
          </a:solidFill>
        </p:spPr>
        <p:txBody>
          <a:bodyPr vert="horz" lIns="91440" tIns="45720" rIns="91440" bIns="45720" rtlCol="0" anchor="ctr">
            <a:noAutofit/>
          </a:bodyPr>
          <a:lstStyle/>
          <a:p>
            <a:pPr marL="0" indent="0">
              <a:buNone/>
            </a:pPr>
            <a:r>
              <a:rPr lang="ru-RU" sz="1100" i="1" dirty="0">
                <a:solidFill>
                  <a:schemeClr val="bg1"/>
                </a:solidFill>
              </a:rPr>
              <a:t>Источники: Директ </a:t>
            </a:r>
            <a:r>
              <a:rPr lang="ru-RU" sz="1100" i="1" dirty="0" smtClean="0">
                <a:solidFill>
                  <a:schemeClr val="bg1"/>
                </a:solidFill>
              </a:rPr>
              <a:t>ИНФО</a:t>
            </a:r>
            <a:endParaRPr lang="en-US" sz="1100" i="1" dirty="0">
              <a:solidFill>
                <a:schemeClr val="bg1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6"/>
            <p:custDataLst>
              <p:tags r:id="rId5"/>
            </p:custDataLst>
          </p:nvPr>
        </p:nvSpPr>
        <p:spPr/>
        <p:txBody>
          <a:bodyPr/>
          <a:lstStyle/>
          <a:p>
            <a:fld id="{74185DEA-EC0A-466A-86BE-ACF8F0BABD7C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>
            <a:normAutofit/>
          </a:bodyPr>
          <a:lstStyle/>
          <a:p>
            <a:r>
              <a:rPr lang="ru-RU" dirty="0"/>
              <a:t>Для удержания доходов от традиционных услуг необходимо </a:t>
            </a:r>
            <a:r>
              <a:rPr lang="ru-RU" dirty="0" smtClean="0"/>
              <a:t>использовать недостатки и особенности OTT приложений</a:t>
            </a:r>
            <a:endParaRPr lang="en-US" dirty="0"/>
          </a:p>
        </p:txBody>
      </p:sp>
      <p:sp>
        <p:nvSpPr>
          <p:cNvPr id="41" name="Текст 4"/>
          <p:cNvSpPr>
            <a:spLocks noGrp="1"/>
          </p:cNvSpPr>
          <p:nvPr>
            <p:ph type="body" sz="quarter" idx="13"/>
            <p:custDataLst>
              <p:tags r:id="rId7"/>
            </p:custDataLst>
          </p:nvPr>
        </p:nvSpPr>
        <p:spPr>
          <a:xfrm>
            <a:off x="5015779" y="1178814"/>
            <a:ext cx="4806949" cy="707136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Объем рынка мобильных сообщений,</a:t>
            </a:r>
          </a:p>
          <a:p>
            <a:pPr>
              <a:spcBef>
                <a:spcPts val="0"/>
              </a:spcBef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млрд. шт.</a:t>
            </a:r>
            <a:endParaRPr lang="ru-RU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2" name="Text Placeholder 41"/>
          <p:cNvSpPr>
            <a:spLocks noGrp="1"/>
          </p:cNvSpPr>
          <p:nvPr>
            <p:ph type="body" sz="quarter" idx="12"/>
            <p:custDataLst>
              <p:tags r:id="rId8"/>
            </p:custDataLst>
          </p:nvPr>
        </p:nvSpPr>
        <p:spPr>
          <a:noFill/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ts val="0"/>
              </a:spcBef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Объем рынка мобильного голоса, </a:t>
            </a:r>
          </a:p>
          <a:p>
            <a:pPr>
              <a:spcBef>
                <a:spcPts val="0"/>
              </a:spcBef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млрд. минут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90" name="Объект 6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84140" y="5145401"/>
            <a:ext cx="4806948" cy="144000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rmAutofit lnSpcReduction="10000"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Wingdings" panose="05000000000000000000" pitchFamily="2" charset="2"/>
              <a:buChar char="§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tx2"/>
              </a:buClr>
            </a:pPr>
            <a:r>
              <a:rPr lang="ru-RU" sz="1600" dirty="0"/>
              <a:t>Требуется установка дополнительных приложений</a:t>
            </a:r>
          </a:p>
          <a:p>
            <a:pPr>
              <a:buClr>
                <a:schemeClr val="tx2"/>
              </a:buClr>
            </a:pPr>
            <a:r>
              <a:rPr lang="ru-RU" sz="1600" dirty="0"/>
              <a:t>Требуется наличие мобильного интернета</a:t>
            </a:r>
          </a:p>
          <a:p>
            <a:pPr>
              <a:buClr>
                <a:schemeClr val="tx2"/>
              </a:buClr>
            </a:pPr>
            <a:r>
              <a:rPr lang="ru-RU" sz="1600" dirty="0" smtClean="0"/>
              <a:t>Высокая доля звонков и сообщений внутри ближнего круга общения</a:t>
            </a:r>
          </a:p>
          <a:p>
            <a:pPr>
              <a:buClr>
                <a:schemeClr val="tx2"/>
              </a:buClr>
            </a:pPr>
            <a:r>
              <a:rPr lang="ru-RU" sz="1600" dirty="0" smtClean="0"/>
              <a:t>Повышенный </a:t>
            </a:r>
            <a:r>
              <a:rPr lang="ru-RU" sz="1600" dirty="0"/>
              <a:t>расход энергии </a:t>
            </a:r>
            <a:r>
              <a:rPr lang="ru-RU" sz="1600" dirty="0" smtClean="0"/>
              <a:t>батареи</a:t>
            </a:r>
          </a:p>
        </p:txBody>
      </p:sp>
      <p:sp>
        <p:nvSpPr>
          <p:cNvPr id="92" name="Текст 10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84138" y="4610101"/>
            <a:ext cx="4824001" cy="414194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indent="0" algn="ctr" defTabSz="742950">
              <a:lnSpc>
                <a:spcPct val="90000"/>
              </a:lnSpc>
              <a:spcBef>
                <a:spcPts val="813"/>
              </a:spcBef>
              <a:buFont typeface="Arial" panose="020B0604020202020204" pitchFamily="34" charset="0"/>
              <a:buNone/>
              <a:defRPr sz="2000">
                <a:solidFill>
                  <a:schemeClr val="tx2">
                    <a:lumMod val="75000"/>
                  </a:schemeClr>
                </a:solidFill>
              </a:defRPr>
            </a:lvl1pPr>
            <a:lvl2pPr marL="55721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950"/>
            </a:lvl2pPr>
            <a:lvl3pPr marL="92868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625"/>
            </a:lvl3pPr>
            <a:lvl4pPr marL="130016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4pPr>
            <a:lvl5pPr marL="167163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5pPr>
            <a:lvl6pPr marL="204311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6pPr>
            <a:lvl7pPr marL="241458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7pPr>
            <a:lvl8pPr marL="278606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8pPr>
            <a:lvl9pPr marL="315753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9pPr>
          </a:lstStyle>
          <a:p>
            <a:r>
              <a:rPr lang="ru-RU" sz="1800" dirty="0"/>
              <a:t>Недостатки и </a:t>
            </a:r>
            <a:r>
              <a:rPr lang="ru-RU" sz="1800" dirty="0" smtClean="0"/>
              <a:t>особенности </a:t>
            </a:r>
            <a:r>
              <a:rPr lang="en-US" sz="1800" dirty="0" smtClean="0"/>
              <a:t>OTT</a:t>
            </a:r>
            <a:r>
              <a:rPr lang="ru-RU" sz="1800" dirty="0" smtClean="0"/>
              <a:t> </a:t>
            </a:r>
            <a:r>
              <a:rPr lang="ru-RU" sz="1800" dirty="0"/>
              <a:t>приложений</a:t>
            </a:r>
            <a:endParaRPr lang="en-US" sz="1800" dirty="0"/>
          </a:p>
        </p:txBody>
      </p:sp>
      <p:cxnSp>
        <p:nvCxnSpPr>
          <p:cNvPr id="93" name="Прямая соединительная линия 4"/>
          <p:cNvCxnSpPr/>
          <p:nvPr>
            <p:custDataLst>
              <p:tags r:id="rId11"/>
            </p:custDataLst>
          </p:nvPr>
        </p:nvCxnSpPr>
        <p:spPr>
          <a:xfrm>
            <a:off x="84139" y="5036765"/>
            <a:ext cx="4824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20" name="Объект 6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5008103" y="5145401"/>
            <a:ext cx="4724371" cy="144000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rmAutofit lnSpcReduction="10000"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Wingdings" panose="05000000000000000000" pitchFamily="2" charset="2"/>
              <a:buChar char="§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Увеличение количества любимых номеров для звонков с 2 до 5-10 и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Опция </a:t>
            </a:r>
            <a:r>
              <a:rPr lang="ru-RU" sz="1600" dirty="0"/>
              <a:t>«любимый номер» для SMS в дополнение к </a:t>
            </a:r>
            <a:r>
              <a:rPr lang="ru-RU" sz="1600" dirty="0" smtClean="0"/>
              <a:t>SMS-пакетам позволят абонентам реже использовать мессенджеры для общения с родными и близкими</a:t>
            </a:r>
            <a:endParaRPr lang="ru-RU" sz="1600" dirty="0"/>
          </a:p>
        </p:txBody>
      </p:sp>
      <p:sp>
        <p:nvSpPr>
          <p:cNvPr id="121" name="Текст 10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4995402" y="4624648"/>
            <a:ext cx="4800699" cy="38871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indent="0" algn="ctr" defTabSz="742950">
              <a:lnSpc>
                <a:spcPct val="90000"/>
              </a:lnSpc>
              <a:spcBef>
                <a:spcPts val="813"/>
              </a:spcBef>
              <a:buFont typeface="Arial" panose="020B0604020202020204" pitchFamily="34" charset="0"/>
              <a:buNone/>
              <a:defRPr sz="2000">
                <a:solidFill>
                  <a:schemeClr val="tx2">
                    <a:lumMod val="75000"/>
                  </a:schemeClr>
                </a:solidFill>
              </a:defRPr>
            </a:lvl1pPr>
            <a:lvl2pPr marL="55721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950"/>
            </a:lvl2pPr>
            <a:lvl3pPr marL="92868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625"/>
            </a:lvl3pPr>
            <a:lvl4pPr marL="130016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4pPr>
            <a:lvl5pPr marL="167163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5pPr>
            <a:lvl6pPr marL="204311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6pPr>
            <a:lvl7pPr marL="241458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7pPr>
            <a:lvl8pPr marL="278606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8pPr>
            <a:lvl9pPr marL="315753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9pPr>
          </a:lstStyle>
          <a:p>
            <a:r>
              <a:rPr lang="ru-RU" sz="1800" dirty="0"/>
              <a:t>Предложения по оптимизации </a:t>
            </a:r>
            <a:r>
              <a:rPr lang="ru-RU" sz="1800" dirty="0" smtClean="0"/>
              <a:t>тарифов</a:t>
            </a:r>
            <a:endParaRPr lang="ru-RU" sz="1800" dirty="0"/>
          </a:p>
        </p:txBody>
      </p:sp>
      <p:cxnSp>
        <p:nvCxnSpPr>
          <p:cNvPr id="122" name="Прямая соединительная линия 4"/>
          <p:cNvCxnSpPr/>
          <p:nvPr>
            <p:custDataLst>
              <p:tags r:id="rId14"/>
            </p:custDataLst>
          </p:nvPr>
        </p:nvCxnSpPr>
        <p:spPr>
          <a:xfrm>
            <a:off x="5008102" y="5036765"/>
            <a:ext cx="4788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aphicFrame>
        <p:nvGraphicFramePr>
          <p:cNvPr id="91" name="Object 52"/>
          <p:cNvGraphicFramePr>
            <a:graphicFrameLocks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689120809"/>
              </p:ext>
            </p:extLst>
          </p:nvPr>
        </p:nvGraphicFramePr>
        <p:xfrm>
          <a:off x="404813" y="2101850"/>
          <a:ext cx="4295654" cy="15622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4" name="Chart" r:id="rId92" imgW="4295654" imgH="1562220" progId="MSGraph.Chart.8">
                  <p:embed followColorScheme="full"/>
                </p:oleObj>
              </mc:Choice>
              <mc:Fallback>
                <p:oleObj name="Chart" r:id="rId92" imgW="4295654" imgH="15622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3"/>
                      <a:stretch>
                        <a:fillRect/>
                      </a:stretch>
                    </p:blipFill>
                    <p:spPr>
                      <a:xfrm>
                        <a:off x="404813" y="2101850"/>
                        <a:ext cx="4295654" cy="15622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4" name="Straight Connector 116"/>
          <p:cNvCxnSpPr/>
          <p:nvPr>
            <p:custDataLst>
              <p:tags r:id="rId16"/>
            </p:custDataLst>
          </p:nvPr>
        </p:nvCxnSpPr>
        <p:spPr bwMode="auto">
          <a:xfrm flipH="1">
            <a:off x="3351213" y="2382838"/>
            <a:ext cx="57150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118"/>
          <p:cNvCxnSpPr/>
          <p:nvPr>
            <p:custDataLst>
              <p:tags r:id="rId17"/>
            </p:custDataLst>
          </p:nvPr>
        </p:nvCxnSpPr>
        <p:spPr bwMode="auto">
          <a:xfrm flipH="1">
            <a:off x="4351338" y="2330450"/>
            <a:ext cx="57150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117"/>
          <p:cNvCxnSpPr/>
          <p:nvPr>
            <p:custDataLst>
              <p:tags r:id="rId18"/>
            </p:custDataLst>
          </p:nvPr>
        </p:nvCxnSpPr>
        <p:spPr bwMode="auto">
          <a:xfrm flipH="1">
            <a:off x="3854450" y="2359025"/>
            <a:ext cx="58738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2"/>
          <p:cNvCxnSpPr/>
          <p:nvPr>
            <p:custDataLst>
              <p:tags r:id="rId19"/>
            </p:custDataLst>
          </p:nvPr>
        </p:nvCxnSpPr>
        <p:spPr bwMode="auto">
          <a:xfrm flipH="1">
            <a:off x="2854325" y="2444750"/>
            <a:ext cx="58738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tangle 97"/>
          <p:cNvSpPr/>
          <p:nvPr>
            <p:custDataLst>
              <p:tags r:id="rId20"/>
            </p:custDataLst>
          </p:nvPr>
        </p:nvSpPr>
        <p:spPr bwMode="gray">
          <a:xfrm>
            <a:off x="611188" y="2978150"/>
            <a:ext cx="2746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CFCD6EC-0145-48C6-8C47-01FF76B4339F}" type="datetime'3''3''''''''''''''''''''''''''''''''6'''''''''''''''">
              <a:rPr lang="en-US" sz="1200">
                <a:solidFill>
                  <a:schemeClr val="bg1"/>
                </a:solidFill>
              </a:rPr>
              <a:pPr/>
              <a:t>336</a:t>
            </a:fld>
            <a:endParaRPr lang="en-US" sz="12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07" name="Rectangle 75"/>
          <p:cNvSpPr/>
          <p:nvPr>
            <p:custDataLst>
              <p:tags r:id="rId21"/>
            </p:custDataLst>
          </p:nvPr>
        </p:nvSpPr>
        <p:spPr bwMode="auto">
          <a:xfrm>
            <a:off x="1560513" y="3613150"/>
            <a:ext cx="3746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2236FFE-4C92-4B70-967F-7B269986901F}" type="datetime'''''''''2''''''''''0''''''''''''''1''''''''3'''''''''''''''''">
              <a:rPr lang="en-US" sz="1400">
                <a:solidFill>
                  <a:schemeClr val="tx1"/>
                </a:solidFill>
              </a:rPr>
              <a:pPr/>
              <a:t>2013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08" name="Rectangle 73"/>
          <p:cNvSpPr/>
          <p:nvPr>
            <p:custDataLst>
              <p:tags r:id="rId22"/>
            </p:custDataLst>
          </p:nvPr>
        </p:nvSpPr>
        <p:spPr bwMode="auto">
          <a:xfrm>
            <a:off x="1587500" y="2198688"/>
            <a:ext cx="3222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C806702-BFF1-4F13-A822-6F309EBEA81C}" type="datetime'3''''''''''''''''''''9''''''''''''''''2'''''''''''">
              <a:rPr lang="en-US" sz="1400">
                <a:solidFill>
                  <a:schemeClr val="tx1"/>
                </a:solidFill>
              </a:rPr>
              <a:pPr/>
              <a:t>392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09" name="Rectangle 99"/>
          <p:cNvSpPr/>
          <p:nvPr>
            <p:custDataLst>
              <p:tags r:id="rId23"/>
            </p:custDataLst>
          </p:nvPr>
        </p:nvSpPr>
        <p:spPr bwMode="gray">
          <a:xfrm>
            <a:off x="1611313" y="2916238"/>
            <a:ext cx="2746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CDE8BEF-E36F-43D9-B038-9103D1CE405E}" type="datetime'''3''''''''''''''8''''''''''''''''''''''''''''''1'">
              <a:rPr lang="en-US" sz="1200">
                <a:solidFill>
                  <a:schemeClr val="bg1"/>
                </a:solidFill>
              </a:rPr>
              <a:pPr/>
              <a:t>381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10" name="Rectangle 64"/>
          <p:cNvSpPr/>
          <p:nvPr>
            <p:custDataLst>
              <p:tags r:id="rId24"/>
            </p:custDataLst>
          </p:nvPr>
        </p:nvSpPr>
        <p:spPr bwMode="gray">
          <a:xfrm>
            <a:off x="1689100" y="2411413"/>
            <a:ext cx="119063" cy="182563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2A4C32D-36E5-4593-ADA1-F28E3D629BA6}" type="datetime'''''''0'''''''''''''">
              <a:rPr lang="en-US" sz="1200">
                <a:solidFill>
                  <a:schemeClr val="bg1"/>
                </a:solidFill>
              </a:rPr>
              <a:pPr/>
              <a:t>0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11" name="Rectangle 66"/>
          <p:cNvSpPr/>
          <p:nvPr>
            <p:custDataLst>
              <p:tags r:id="rId25"/>
            </p:custDataLst>
          </p:nvPr>
        </p:nvSpPr>
        <p:spPr bwMode="auto">
          <a:xfrm>
            <a:off x="1060450" y="3613150"/>
            <a:ext cx="3746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EE2EC3C-78A4-434E-8A7B-C9D8A0217AA5}" type="datetime'''''''''''''''''''''''''''''2''''''0''''''''1''''2'''''''''''">
              <a:rPr lang="en-US" sz="1400">
                <a:solidFill>
                  <a:schemeClr val="tx1"/>
                </a:solidFill>
              </a:rPr>
              <a:pPr/>
              <a:t>2012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2" name="Rectangle 88"/>
          <p:cNvSpPr/>
          <p:nvPr>
            <p:custDataLst>
              <p:tags r:id="rId26"/>
            </p:custDataLst>
          </p:nvPr>
        </p:nvSpPr>
        <p:spPr bwMode="auto">
          <a:xfrm>
            <a:off x="1087438" y="2292350"/>
            <a:ext cx="3222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EB86618-33BF-49CF-B36B-0B26A0F09635}" type="datetime'''''''''''''3''''''''7''''''''''''''''0'''''''''''''''''''">
              <a:rPr lang="en-US" sz="1400">
                <a:solidFill>
                  <a:schemeClr val="tx1"/>
                </a:solidFill>
              </a:rPr>
              <a:pPr/>
              <a:t>370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3" name="Rectangle 62"/>
          <p:cNvSpPr/>
          <p:nvPr>
            <p:custDataLst>
              <p:tags r:id="rId27"/>
            </p:custDataLst>
          </p:nvPr>
        </p:nvSpPr>
        <p:spPr bwMode="auto">
          <a:xfrm>
            <a:off x="2087563" y="2170113"/>
            <a:ext cx="3222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19F72B6-FBBE-40D2-B359-87FD67434EED}" type="datetime'''''4''''''''''''''''''''0''7'''''''''''''">
              <a:rPr lang="en-US" sz="1400">
                <a:solidFill>
                  <a:schemeClr val="tx1"/>
                </a:solidFill>
              </a:rPr>
              <a:pPr/>
              <a:t>407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4" name="Rectangle 68"/>
          <p:cNvSpPr/>
          <p:nvPr>
            <p:custDataLst>
              <p:tags r:id="rId28"/>
            </p:custDataLst>
          </p:nvPr>
        </p:nvSpPr>
        <p:spPr bwMode="gray">
          <a:xfrm>
            <a:off x="2189163" y="2382838"/>
            <a:ext cx="119063" cy="182563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F85F257-E423-4B47-9CCE-209E9F0C73D2}" type="datetime'''''''''''''''''''1'''''''''''''''''''''''''">
              <a:rPr lang="en-US" sz="1200">
                <a:solidFill>
                  <a:schemeClr val="bg1"/>
                </a:solidFill>
              </a:rPr>
              <a:pPr/>
              <a:t>1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15" name="Rectangle 100"/>
          <p:cNvSpPr/>
          <p:nvPr>
            <p:custDataLst>
              <p:tags r:id="rId29"/>
            </p:custDataLst>
          </p:nvPr>
        </p:nvSpPr>
        <p:spPr bwMode="gray">
          <a:xfrm>
            <a:off x="2111375" y="2901950"/>
            <a:ext cx="2746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C710716-85DB-411F-8793-A9F9D75FE86B}" type="datetime'''''''''''''3''9''''''''''''''''''''3'''''''''''''''">
              <a:rPr lang="en-US" sz="1200">
                <a:solidFill>
                  <a:schemeClr val="bg1"/>
                </a:solidFill>
              </a:rPr>
              <a:pPr/>
              <a:t>393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23" name="Rectangle 101"/>
          <p:cNvSpPr/>
          <p:nvPr>
            <p:custDataLst>
              <p:tags r:id="rId30"/>
            </p:custDataLst>
          </p:nvPr>
        </p:nvSpPr>
        <p:spPr bwMode="gray">
          <a:xfrm>
            <a:off x="2611438" y="2892425"/>
            <a:ext cx="2746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6EF5E15-918F-4680-AEFD-11ADA66CBBA8}" type="datetime'''''3''''''''''''''''''9''9'''''''''''''''''''''''''''''''''''">
              <a:rPr lang="en-US" sz="1200">
                <a:solidFill>
                  <a:schemeClr val="bg1"/>
                </a:solidFill>
              </a:rPr>
              <a:pPr/>
              <a:t>399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24" name="Rectangle 59"/>
          <p:cNvSpPr/>
          <p:nvPr>
            <p:custDataLst>
              <p:tags r:id="rId31"/>
            </p:custDataLst>
          </p:nvPr>
        </p:nvSpPr>
        <p:spPr bwMode="auto">
          <a:xfrm>
            <a:off x="2649538" y="2325688"/>
            <a:ext cx="196850" cy="182563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20D3C1E-AC34-4F79-B70A-9974CC84AED9}" type="datetime'''1''''''''''''''''''''''''''''''''5'''''''''''''''''''''''''">
              <a:rPr lang="en-US" sz="1200">
                <a:solidFill>
                  <a:schemeClr val="tx1"/>
                </a:solidFill>
              </a:rPr>
              <a:pPr/>
              <a:t>15</a:t>
            </a:fld>
            <a:endParaRPr lang="en-US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5" name="Rectangle 72"/>
          <p:cNvSpPr/>
          <p:nvPr>
            <p:custDataLst>
              <p:tags r:id="rId32"/>
            </p:custDataLst>
          </p:nvPr>
        </p:nvSpPr>
        <p:spPr bwMode="auto">
          <a:xfrm>
            <a:off x="2060575" y="3613150"/>
            <a:ext cx="3746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1678DC1-7AF2-4257-8C38-B6DCDB148CE6}" type="datetime'''''''''''''''''''''''''''''''2''''0''''''14'">
              <a:rPr lang="en-US" sz="1400">
                <a:solidFill>
                  <a:schemeClr val="tx1"/>
                </a:solidFill>
              </a:rPr>
              <a:pPr/>
              <a:t>2014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6" name="Rectangle 98"/>
          <p:cNvSpPr/>
          <p:nvPr>
            <p:custDataLst>
              <p:tags r:id="rId33"/>
            </p:custDataLst>
          </p:nvPr>
        </p:nvSpPr>
        <p:spPr bwMode="gray">
          <a:xfrm>
            <a:off x="1111250" y="2940050"/>
            <a:ext cx="2746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C215BD-475D-4F59-9809-266F5DC4E7D7}" type="datetime'''''''''''''''''''''36''''''''''2'''''''''''''''''''''''''''">
              <a:rPr lang="en-US" sz="1200">
                <a:solidFill>
                  <a:schemeClr val="bg1"/>
                </a:solidFill>
              </a:rPr>
              <a:pPr/>
              <a:t>362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27" name="Rectangle 60"/>
          <p:cNvSpPr/>
          <p:nvPr>
            <p:custDataLst>
              <p:tags r:id="rId34"/>
            </p:custDataLst>
          </p:nvPr>
        </p:nvSpPr>
        <p:spPr bwMode="auto">
          <a:xfrm>
            <a:off x="560388" y="3613150"/>
            <a:ext cx="3746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772D76D-56D8-4125-BD1F-4F3A0C7C3BA4}" type="datetime'''''''''''''2''''''''''''''''''''''''''0''''''1''1'''">
              <a:rPr lang="en-US" sz="1400">
                <a:solidFill>
                  <a:schemeClr val="tx1"/>
                </a:solidFill>
              </a:rPr>
              <a:pPr/>
              <a:t>2011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8" name="Rectangle 86"/>
          <p:cNvSpPr/>
          <p:nvPr>
            <p:custDataLst>
              <p:tags r:id="rId35"/>
            </p:custDataLst>
          </p:nvPr>
        </p:nvSpPr>
        <p:spPr bwMode="auto">
          <a:xfrm>
            <a:off x="587375" y="2368550"/>
            <a:ext cx="3222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042F395-075F-45BD-B41B-77167339E956}" type="datetime'''''''''''''''''''3''''4''1'''''''''''''''''''''''">
              <a:rPr lang="en-US" sz="1400">
                <a:solidFill>
                  <a:schemeClr val="tx1"/>
                </a:solidFill>
              </a:rPr>
              <a:pPr/>
              <a:t>341</a:t>
            </a:fld>
            <a:endParaRPr lang="en-US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9" name="Rectangle 53"/>
          <p:cNvSpPr/>
          <p:nvPr>
            <p:custDataLst>
              <p:tags r:id="rId36"/>
            </p:custDataLst>
          </p:nvPr>
        </p:nvSpPr>
        <p:spPr bwMode="auto">
          <a:xfrm>
            <a:off x="4060825" y="3613150"/>
            <a:ext cx="3746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9426EC3-87BF-4943-97E4-74287686D1C6}" type="datetime'''''''''''''''''''''''2''''''''0''''1''''''''''''''''8'''">
              <a:rPr lang="en-US" sz="1400">
                <a:solidFill>
                  <a:schemeClr val="tx1"/>
                </a:solidFill>
              </a:rPr>
              <a:pPr/>
              <a:t>2018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30" name="Rectangle 54"/>
          <p:cNvSpPr/>
          <p:nvPr>
            <p:custDataLst>
              <p:tags r:id="rId37"/>
            </p:custDataLst>
          </p:nvPr>
        </p:nvSpPr>
        <p:spPr bwMode="auto">
          <a:xfrm>
            <a:off x="4087813" y="2063750"/>
            <a:ext cx="3222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7849BCF-96C5-419B-BE9E-53E90B11F58A}" type="datetime'''''''''4''''''''''''''''''''''57'''''''''''''''''''''''''''">
              <a:rPr lang="en-US" sz="1400">
                <a:solidFill>
                  <a:schemeClr val="tx1"/>
                </a:solidFill>
              </a:rPr>
              <a:pPr/>
              <a:t>457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31" name="Rectangle 104"/>
          <p:cNvSpPr/>
          <p:nvPr>
            <p:custDataLst>
              <p:tags r:id="rId38"/>
            </p:custDataLst>
          </p:nvPr>
        </p:nvSpPr>
        <p:spPr bwMode="gray">
          <a:xfrm>
            <a:off x="4111625" y="2921000"/>
            <a:ext cx="2746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3A25183-F0D0-4403-8931-19E96193D11C}" type="datetime'''''''''''''''''''''''''''''''''''''''3''''7''''9'''''">
              <a:rPr lang="en-US" sz="1200">
                <a:solidFill>
                  <a:schemeClr val="bg1"/>
                </a:solidFill>
              </a:rPr>
              <a:pPr/>
              <a:t>379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32" name="Rectangle 55"/>
          <p:cNvSpPr/>
          <p:nvPr>
            <p:custDataLst>
              <p:tags r:id="rId39"/>
            </p:custDataLst>
          </p:nvPr>
        </p:nvSpPr>
        <p:spPr bwMode="gray">
          <a:xfrm>
            <a:off x="4149725" y="2344738"/>
            <a:ext cx="1968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2EEEA70-7AD9-42B4-969C-4E73B2E9E8A2}" type="datetime'''''''5''''''''''''''''''''''''5'''''''''''''''''''''''''">
              <a:rPr lang="en-US" sz="1200">
                <a:solidFill>
                  <a:schemeClr val="bg1"/>
                </a:solidFill>
              </a:rPr>
              <a:pPr/>
              <a:t>55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33" name="Rectangle 65"/>
          <p:cNvSpPr/>
          <p:nvPr>
            <p:custDataLst>
              <p:tags r:id="rId40"/>
            </p:custDataLst>
          </p:nvPr>
        </p:nvSpPr>
        <p:spPr bwMode="auto">
          <a:xfrm>
            <a:off x="3560763" y="3613150"/>
            <a:ext cx="3746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E72BC1C-523A-411B-8A2D-631B54BD4664}" type="datetime'''''''''''''''''''''''20''''''''1''''''''''7'''''''''">
              <a:rPr lang="en-US" sz="1400">
                <a:solidFill>
                  <a:schemeClr val="tx1"/>
                </a:solidFill>
              </a:rPr>
              <a:pPr/>
              <a:t>2017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34" name="Rectangle 57"/>
          <p:cNvSpPr/>
          <p:nvPr>
            <p:custDataLst>
              <p:tags r:id="rId41"/>
            </p:custDataLst>
          </p:nvPr>
        </p:nvSpPr>
        <p:spPr bwMode="auto">
          <a:xfrm>
            <a:off x="3587750" y="2092325"/>
            <a:ext cx="3222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B144F78-75E5-49B2-A562-AEF283DCBCE6}" type="datetime'''''''''''4''''''''4''''''''''''''6'''''''''''''">
              <a:rPr lang="en-US" sz="1400">
                <a:solidFill>
                  <a:schemeClr val="tx1"/>
                </a:solidFill>
              </a:rPr>
              <a:pPr/>
              <a:t>446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35" name="Rectangle 103"/>
          <p:cNvSpPr/>
          <p:nvPr>
            <p:custDataLst>
              <p:tags r:id="rId42"/>
            </p:custDataLst>
          </p:nvPr>
        </p:nvSpPr>
        <p:spPr bwMode="gray">
          <a:xfrm>
            <a:off x="3611563" y="2901950"/>
            <a:ext cx="2746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77B60B5-4DD6-4D1F-9CC8-C85EC958F75F}" type="datetime'3''''''''''''9''''''''''1'''''''''''''''''''''''''''">
              <a:rPr lang="en-US" sz="1200">
                <a:solidFill>
                  <a:schemeClr val="bg1"/>
                </a:solidFill>
              </a:rPr>
              <a:pPr/>
              <a:t>391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36" name="Rectangle 71"/>
          <p:cNvSpPr/>
          <p:nvPr>
            <p:custDataLst>
              <p:tags r:id="rId43"/>
            </p:custDataLst>
          </p:nvPr>
        </p:nvSpPr>
        <p:spPr bwMode="gray">
          <a:xfrm>
            <a:off x="3649663" y="2339975"/>
            <a:ext cx="196850" cy="182563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6564EBC-EDE7-42C8-A78A-BD619434BA1D}" type="datetime'''''''''3''''''''4'''''''''''">
              <a:rPr lang="en-US" sz="1200">
                <a:solidFill>
                  <a:schemeClr val="bg1"/>
                </a:solidFill>
              </a:rPr>
              <a:pPr/>
              <a:t>34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37" name="Rectangle 63"/>
          <p:cNvSpPr/>
          <p:nvPr>
            <p:custDataLst>
              <p:tags r:id="rId44"/>
            </p:custDataLst>
          </p:nvPr>
        </p:nvSpPr>
        <p:spPr bwMode="auto">
          <a:xfrm>
            <a:off x="3060700" y="3613150"/>
            <a:ext cx="3746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CB60458-A557-46F4-BACB-3F1400BF9627}" type="datetime'''''2''''0''''''''''''''''''1''''''''6'''''''">
              <a:rPr lang="en-US" sz="1400">
                <a:solidFill>
                  <a:schemeClr val="tx1"/>
                </a:solidFill>
              </a:rPr>
              <a:pPr/>
              <a:t>2016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38" name="Rectangle 69"/>
          <p:cNvSpPr/>
          <p:nvPr>
            <p:custDataLst>
              <p:tags r:id="rId45"/>
            </p:custDataLst>
          </p:nvPr>
        </p:nvSpPr>
        <p:spPr bwMode="auto">
          <a:xfrm>
            <a:off x="3087688" y="2112963"/>
            <a:ext cx="3222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A1C2B73-F7B4-4853-A35F-31484921BED2}" type="datetime'''''''''''''43''''''''''''''''4'''''">
              <a:rPr lang="en-US" sz="1400">
                <a:solidFill>
                  <a:schemeClr val="tx1"/>
                </a:solidFill>
              </a:rPr>
              <a:pPr/>
              <a:t>434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39" name="Rectangle 102"/>
          <p:cNvSpPr/>
          <p:nvPr>
            <p:custDataLst>
              <p:tags r:id="rId46"/>
            </p:custDataLst>
          </p:nvPr>
        </p:nvSpPr>
        <p:spPr bwMode="gray">
          <a:xfrm>
            <a:off x="3111500" y="2892425"/>
            <a:ext cx="2746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2181F84-2D16-415F-BF4F-216393CFFBBD}" type="datetime'''''''''''''''''''''''''3''''''''''''''''9''''''''''''''''9'">
              <a:rPr lang="en-US" sz="1200">
                <a:solidFill>
                  <a:schemeClr val="bg1"/>
                </a:solidFill>
              </a:rPr>
              <a:pPr/>
              <a:t>399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40" name="Rectangle 115"/>
          <p:cNvSpPr/>
          <p:nvPr>
            <p:custDataLst>
              <p:tags r:id="rId47"/>
            </p:custDataLst>
          </p:nvPr>
        </p:nvSpPr>
        <p:spPr bwMode="gray">
          <a:xfrm>
            <a:off x="3149600" y="2339975"/>
            <a:ext cx="196850" cy="182563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0213CA7-188E-431C-8F0F-3F5C0C26D057}" type="datetime'''''17'''''''''''''''''''''''''''''''''''''''''''''''">
              <a:rPr lang="en-US" sz="1200">
                <a:solidFill>
                  <a:schemeClr val="bg1"/>
                </a:solidFill>
              </a:rPr>
              <a:pPr/>
              <a:t>17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41" name="Rectangle 58"/>
          <p:cNvSpPr/>
          <p:nvPr>
            <p:custDataLst>
              <p:tags r:id="rId48"/>
            </p:custDataLst>
          </p:nvPr>
        </p:nvSpPr>
        <p:spPr bwMode="auto">
          <a:xfrm>
            <a:off x="2560638" y="3613150"/>
            <a:ext cx="3746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33C240B-CEC3-459B-9370-7CAC68AB6255}" type="datetime'''''''''''''''2''0''''''''''1''''''''5'''''''''''">
              <a:rPr lang="en-US" sz="1400">
                <a:solidFill>
                  <a:schemeClr val="tx1"/>
                </a:solidFill>
              </a:rPr>
              <a:pPr/>
              <a:t>2015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42" name="Rectangle 70"/>
          <p:cNvSpPr/>
          <p:nvPr>
            <p:custDataLst>
              <p:tags r:id="rId49"/>
            </p:custDataLst>
          </p:nvPr>
        </p:nvSpPr>
        <p:spPr bwMode="auto">
          <a:xfrm>
            <a:off x="2587625" y="2112963"/>
            <a:ext cx="3222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21F6FCD-594E-4F72-BB6F-810BF3C28B45}" type="datetime'''''''''42''''''''''''''''''''1'''''''''''">
              <a:rPr lang="en-US" sz="1400">
                <a:solidFill>
                  <a:schemeClr val="tx1"/>
                </a:solidFill>
              </a:rPr>
              <a:pPr/>
              <a:t>421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43" name="Rectangle 87"/>
          <p:cNvSpPr/>
          <p:nvPr>
            <p:custDataLst>
              <p:tags r:id="rId50"/>
            </p:custDataLst>
          </p:nvPr>
        </p:nvSpPr>
        <p:spPr bwMode="auto">
          <a:xfrm>
            <a:off x="1057275" y="4341813"/>
            <a:ext cx="214312" cy="1603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4" name="Rectangle 81"/>
          <p:cNvSpPr/>
          <p:nvPr>
            <p:custDataLst>
              <p:tags r:id="rId51"/>
            </p:custDataLst>
          </p:nvPr>
        </p:nvSpPr>
        <p:spPr bwMode="auto">
          <a:xfrm>
            <a:off x="1057275" y="4108450"/>
            <a:ext cx="214313" cy="160338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5" name="Rectangle 82"/>
          <p:cNvSpPr/>
          <p:nvPr>
            <p:custDataLst>
              <p:tags r:id="rId52"/>
            </p:custDataLst>
          </p:nvPr>
        </p:nvSpPr>
        <p:spPr bwMode="auto">
          <a:xfrm>
            <a:off x="1057275" y="3875088"/>
            <a:ext cx="214313" cy="160338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6" name="Rectangle 85"/>
          <p:cNvSpPr/>
          <p:nvPr>
            <p:custDataLst>
              <p:tags r:id="rId53"/>
            </p:custDataLst>
          </p:nvPr>
        </p:nvSpPr>
        <p:spPr bwMode="auto">
          <a:xfrm>
            <a:off x="1322388" y="4337050"/>
            <a:ext cx="2352675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2431DB3-4EA7-40C3-9E55-3421391C49BC}" type="datetime'И''с''ходящи''''''''е'''''' мобильн''''''ые'' соединен''ия'">
              <a:rPr lang="en-US" sz="1200">
                <a:solidFill>
                  <a:schemeClr val="tx1"/>
                </a:solidFill>
              </a:rPr>
              <a:pPr/>
              <a:t>Исходящие мобильные соединения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47" name="Rectangle 83"/>
          <p:cNvSpPr/>
          <p:nvPr>
            <p:custDataLst>
              <p:tags r:id="rId54"/>
            </p:custDataLst>
          </p:nvPr>
        </p:nvSpPr>
        <p:spPr bwMode="auto">
          <a:xfrm>
            <a:off x="1322388" y="4103688"/>
            <a:ext cx="2638425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35ABFFE-EBA8-4CE7-9A10-DCF5F94E702D}" type="datetime'Исход''''''ящие мо''''би''''''льн''ые ''O''TT'' ''соединения'">
              <a:rPr lang="en-US" sz="1200">
                <a:solidFill>
                  <a:schemeClr val="tx1"/>
                </a:solidFill>
              </a:rPr>
              <a:pPr/>
              <a:t>Исходящие мобильные OTT соединения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48" name="Rectangle 84"/>
          <p:cNvSpPr/>
          <p:nvPr>
            <p:custDataLst>
              <p:tags r:id="rId55"/>
            </p:custDataLst>
          </p:nvPr>
        </p:nvSpPr>
        <p:spPr bwMode="auto">
          <a:xfrm>
            <a:off x="1322388" y="3870325"/>
            <a:ext cx="2157413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42D6878-4E3E-425A-9597-63E1EEE9A8F8}" type="datetime'Исх''о''дящ''ие Wi''Fi OTT сое''д''ин''''''''е''н''и''я'''''">
              <a:rPr lang="en-US" sz="1200">
                <a:solidFill>
                  <a:schemeClr val="tx1"/>
                </a:solidFill>
              </a:rPr>
              <a:pPr/>
              <a:t>Исходящие WiFi OTT соединения</a:t>
            </a:fld>
            <a:endParaRPr lang="en-US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graphicFrame>
        <p:nvGraphicFramePr>
          <p:cNvPr id="149" name="Object 9"/>
          <p:cNvGraphicFramePr>
            <a:graphicFrameLocks/>
          </p:cNvGraphicFramePr>
          <p:nvPr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642065886"/>
              </p:ext>
            </p:extLst>
          </p:nvPr>
        </p:nvGraphicFramePr>
        <p:xfrm>
          <a:off x="5349875" y="2208213"/>
          <a:ext cx="4210022" cy="14574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5" name="Chart" r:id="rId94" imgW="4210022" imgH="1457460" progId="MSGraph.Chart.8">
                  <p:embed followColorScheme="full"/>
                </p:oleObj>
              </mc:Choice>
              <mc:Fallback>
                <p:oleObj name="Chart" r:id="rId94" imgW="4210022" imgH="145746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5"/>
                      <a:stretch>
                        <a:fillRect/>
                      </a:stretch>
                    </p:blipFill>
                    <p:spPr>
                      <a:xfrm>
                        <a:off x="5349875" y="2208213"/>
                        <a:ext cx="4210022" cy="14574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Rectangle 24"/>
          <p:cNvSpPr/>
          <p:nvPr>
            <p:custDataLst>
              <p:tags r:id="rId57"/>
            </p:custDataLst>
          </p:nvPr>
        </p:nvSpPr>
        <p:spPr bwMode="auto">
          <a:xfrm>
            <a:off x="7505700" y="3595688"/>
            <a:ext cx="3746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FFEFC24-A8CC-4458-A7C6-1F05C99B2D23}" type="datetime'''''''''2''''''01''''''''''''''5'">
              <a:rPr lang="en-US" sz="1400">
                <a:solidFill>
                  <a:schemeClr val="tx1"/>
                </a:solidFill>
              </a:rPr>
              <a:pPr/>
              <a:t>2015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51" name="Rectangle 31"/>
          <p:cNvSpPr/>
          <p:nvPr>
            <p:custDataLst>
              <p:tags r:id="rId58"/>
            </p:custDataLst>
          </p:nvPr>
        </p:nvSpPr>
        <p:spPr bwMode="auto">
          <a:xfrm>
            <a:off x="7532688" y="2679700"/>
            <a:ext cx="3222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C8F0F1D-2686-40D8-B10E-C729845F4442}" type="datetime'''''''1''''''''''''''''''''''''4''''6'''''''''''''''''">
              <a:rPr lang="en-US" sz="1400">
                <a:solidFill>
                  <a:schemeClr val="tx1"/>
                </a:solidFill>
              </a:rPr>
              <a:pPr/>
              <a:t>146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52" name="Rectangle 30"/>
          <p:cNvSpPr/>
          <p:nvPr>
            <p:custDataLst>
              <p:tags r:id="rId59"/>
            </p:custDataLst>
          </p:nvPr>
        </p:nvSpPr>
        <p:spPr bwMode="gray">
          <a:xfrm>
            <a:off x="7556500" y="3155950"/>
            <a:ext cx="2746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1942E17-5441-4BFC-B644-2BAA8A7AD55A}" type="datetime'''''''''''''''''12''6'''''''''''''''''''''''''''''">
              <a:rPr lang="en-US" sz="1200">
                <a:solidFill>
                  <a:schemeClr val="bg1"/>
                </a:solidFill>
              </a:rPr>
              <a:pPr/>
              <a:t>126</a:t>
            </a:fld>
            <a:endParaRPr lang="en-US" sz="12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53" name="Rectangle 29"/>
          <p:cNvSpPr/>
          <p:nvPr>
            <p:custDataLst>
              <p:tags r:id="rId60"/>
            </p:custDataLst>
          </p:nvPr>
        </p:nvSpPr>
        <p:spPr bwMode="gray">
          <a:xfrm>
            <a:off x="7594600" y="2870200"/>
            <a:ext cx="196850" cy="182563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3731766-3A59-40CC-8543-FABEE73017D9}" type="datetime'''''''''''''''''''2''''''''''''''''''''0'''''''''">
              <a:rPr lang="en-US" sz="1200">
                <a:solidFill>
                  <a:schemeClr val="bg1"/>
                </a:solidFill>
              </a:rPr>
              <a:pPr/>
              <a:t>20</a:t>
            </a:fld>
            <a:endParaRPr lang="en-US" sz="12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54" name="Rectangle 23"/>
          <p:cNvSpPr/>
          <p:nvPr>
            <p:custDataLst>
              <p:tags r:id="rId61"/>
            </p:custDataLst>
          </p:nvPr>
        </p:nvSpPr>
        <p:spPr bwMode="auto">
          <a:xfrm>
            <a:off x="7005638" y="3595688"/>
            <a:ext cx="3746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8D8F22D-971F-4544-85EA-BFD64289BFDE}" type="datetime'2''''''''''''''''''''''''''''''''01''''''''''''4'''''''''''">
              <a:rPr lang="en-US" sz="1400">
                <a:solidFill>
                  <a:schemeClr val="tx1"/>
                </a:solidFill>
              </a:rPr>
              <a:pPr/>
              <a:t>2014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55" name="Rectangle 28"/>
          <p:cNvSpPr/>
          <p:nvPr>
            <p:custDataLst>
              <p:tags r:id="rId62"/>
            </p:custDataLst>
          </p:nvPr>
        </p:nvSpPr>
        <p:spPr bwMode="auto">
          <a:xfrm>
            <a:off x="7032625" y="2779713"/>
            <a:ext cx="3222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5D85462-27A2-4508-A4A3-0A1B5BD49425}" type="datetime'''''''''''''''1''''''''''''''''''''''''''''''''''''''22'''">
              <a:rPr lang="en-US" sz="1400">
                <a:solidFill>
                  <a:schemeClr val="tx1"/>
                </a:solidFill>
              </a:rPr>
              <a:pPr/>
              <a:t>122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56" name="Rectangle 14"/>
          <p:cNvSpPr/>
          <p:nvPr>
            <p:custDataLst>
              <p:tags r:id="rId63"/>
            </p:custDataLst>
          </p:nvPr>
        </p:nvSpPr>
        <p:spPr bwMode="gray">
          <a:xfrm>
            <a:off x="7056438" y="3175000"/>
            <a:ext cx="2746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24F679E-8A4D-406B-9B02-1A344A926AF7}" type="datetime'''''''''''''1''''''''''''''''''''''''''''''''1''''''6'''''''">
              <a:rPr lang="en-US" sz="1200">
                <a:solidFill>
                  <a:schemeClr val="bg1"/>
                </a:solidFill>
              </a:rPr>
              <a:pPr/>
              <a:t>116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57" name="Rectangle 45"/>
          <p:cNvSpPr/>
          <p:nvPr>
            <p:custDataLst>
              <p:tags r:id="rId64"/>
            </p:custDataLst>
          </p:nvPr>
        </p:nvSpPr>
        <p:spPr bwMode="auto">
          <a:xfrm>
            <a:off x="6505575" y="3595688"/>
            <a:ext cx="3746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702D5A5-8E9C-40E7-9BFA-686F13A40F1B}" type="datetime'''''2''''0''''''1''''''''''''''''3'''''''''''''''''''''">
              <a:rPr lang="en-US" sz="1400">
                <a:solidFill>
                  <a:schemeClr val="tx1"/>
                </a:solidFill>
              </a:rPr>
              <a:pPr/>
              <a:t>2013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58" name="Rectangle 46"/>
          <p:cNvSpPr/>
          <p:nvPr>
            <p:custDataLst>
              <p:tags r:id="rId65"/>
            </p:custDataLst>
          </p:nvPr>
        </p:nvSpPr>
        <p:spPr bwMode="auto">
          <a:xfrm>
            <a:off x="6532563" y="2855913"/>
            <a:ext cx="3222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A542632-1972-461A-B7A4-25AC349D5E41}" type="datetime'''''''''''''''''''''1''''''''0''''''''''''''''''''''3'''">
              <a:rPr lang="en-US" sz="1400">
                <a:solidFill>
                  <a:schemeClr val="tx1"/>
                </a:solidFill>
              </a:rPr>
              <a:pPr/>
              <a:t>103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59" name="Rectangle 47"/>
          <p:cNvSpPr/>
          <p:nvPr>
            <p:custDataLst>
              <p:tags r:id="rId66"/>
            </p:custDataLst>
          </p:nvPr>
        </p:nvSpPr>
        <p:spPr bwMode="gray">
          <a:xfrm>
            <a:off x="6556375" y="3203575"/>
            <a:ext cx="2746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7987398-40C8-44FA-9606-C08F49D34726}" type="datetime'''''''''''1''''''''''0''''''''''''''''''''''''''''''''''''1'">
              <a:rPr lang="en-US" sz="1200">
                <a:solidFill>
                  <a:schemeClr val="bg1"/>
                </a:solidFill>
              </a:rPr>
              <a:pPr/>
              <a:t>101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60" name="Rectangle 44"/>
          <p:cNvSpPr/>
          <p:nvPr>
            <p:custDataLst>
              <p:tags r:id="rId67"/>
            </p:custDataLst>
          </p:nvPr>
        </p:nvSpPr>
        <p:spPr bwMode="auto">
          <a:xfrm>
            <a:off x="6005513" y="3595688"/>
            <a:ext cx="3746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3F25EF2-E6E1-4904-BFDD-B9B4C7206ED0}" type="datetime'2''''''''''''''''''''''''''''''0''''''''1''''''''''''2'''''''">
              <a:rPr lang="en-US" sz="1400">
                <a:solidFill>
                  <a:schemeClr val="tx1"/>
                </a:solidFill>
              </a:rPr>
              <a:pPr/>
              <a:t>2012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61" name="Rectangle 48"/>
          <p:cNvSpPr/>
          <p:nvPr>
            <p:custDataLst>
              <p:tags r:id="rId68"/>
            </p:custDataLst>
          </p:nvPr>
        </p:nvSpPr>
        <p:spPr bwMode="auto">
          <a:xfrm>
            <a:off x="6076950" y="2941638"/>
            <a:ext cx="2317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57ED720-C315-4916-AEEE-70F1618A5362}" type="datetime'''''''''''''''''''''''''''''''8''''''''''''''''1'''">
              <a:rPr lang="en-US" sz="1400">
                <a:solidFill>
                  <a:schemeClr val="tx1"/>
                </a:solidFill>
              </a:rPr>
              <a:pPr/>
              <a:t>81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62" name="Rectangle 49"/>
          <p:cNvSpPr/>
          <p:nvPr>
            <p:custDataLst>
              <p:tags r:id="rId69"/>
            </p:custDataLst>
          </p:nvPr>
        </p:nvSpPr>
        <p:spPr bwMode="gray">
          <a:xfrm>
            <a:off x="6094413" y="3246438"/>
            <a:ext cx="1968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91F9328-1221-4EBA-8DC8-571DE5993C70}" type="datetime'''''''''8''''''''''''''''''''''''''''''''''0'''''''''">
              <a:rPr lang="en-US" sz="1200">
                <a:solidFill>
                  <a:schemeClr val="bg1"/>
                </a:solidFill>
              </a:rPr>
              <a:pPr/>
              <a:t>80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63" name="Rectangle 22"/>
          <p:cNvSpPr/>
          <p:nvPr>
            <p:custDataLst>
              <p:tags r:id="rId70"/>
            </p:custDataLst>
          </p:nvPr>
        </p:nvSpPr>
        <p:spPr bwMode="auto">
          <a:xfrm>
            <a:off x="5505450" y="3595688"/>
            <a:ext cx="3746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50ED702-2679-4947-8F07-04CDBA41C9AB}" type="datetime'''20''''''''''1''''''''''''''''''''''''''''''1'''''">
              <a:rPr lang="en-US" sz="1400">
                <a:solidFill>
                  <a:schemeClr val="tx1"/>
                </a:solidFill>
              </a:rPr>
              <a:pPr/>
              <a:t>2011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64" name="Rectangle 50"/>
          <p:cNvSpPr/>
          <p:nvPr>
            <p:custDataLst>
              <p:tags r:id="rId71"/>
            </p:custDataLst>
          </p:nvPr>
        </p:nvSpPr>
        <p:spPr bwMode="auto">
          <a:xfrm>
            <a:off x="5576888" y="3017838"/>
            <a:ext cx="2317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8694266-035E-4560-8D8F-6F5677A78ED8}" type="datetime'''''''''''''''''''''''''''''6''''''0'''''''''">
              <a:rPr lang="en-US" sz="1400">
                <a:solidFill>
                  <a:schemeClr val="tx1"/>
                </a:solidFill>
              </a:rPr>
              <a:pPr/>
              <a:t>60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65" name="Rectangle 51"/>
          <p:cNvSpPr/>
          <p:nvPr>
            <p:custDataLst>
              <p:tags r:id="rId72"/>
            </p:custDataLst>
          </p:nvPr>
        </p:nvSpPr>
        <p:spPr bwMode="gray">
          <a:xfrm>
            <a:off x="5594350" y="3284538"/>
            <a:ext cx="1968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0A1E443-D014-4AFA-8C70-3C6B7F7C8BC1}" type="datetime'''''''''''''''''''''''''6''''''''''''''''0'''''''''''">
              <a:rPr lang="en-US" sz="1200">
                <a:solidFill>
                  <a:schemeClr val="bg1"/>
                </a:solidFill>
              </a:rPr>
              <a:pPr/>
              <a:t>60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66" name="Rectangle 12"/>
          <p:cNvSpPr/>
          <p:nvPr>
            <p:custDataLst>
              <p:tags r:id="rId73"/>
            </p:custDataLst>
          </p:nvPr>
        </p:nvSpPr>
        <p:spPr bwMode="auto">
          <a:xfrm>
            <a:off x="9005888" y="3595688"/>
            <a:ext cx="3746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522E93F-6240-4B4B-AB43-CC863A72E713}" type="datetime'2''''''''01''''''''''''''''''''8'''''''">
              <a:rPr lang="en-US" sz="1400">
                <a:solidFill>
                  <a:schemeClr val="tx1"/>
                </a:solidFill>
              </a:rPr>
              <a:pPr/>
              <a:t>2018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67" name="Rectangle 10"/>
          <p:cNvSpPr/>
          <p:nvPr>
            <p:custDataLst>
              <p:tags r:id="rId74"/>
            </p:custDataLst>
          </p:nvPr>
        </p:nvSpPr>
        <p:spPr bwMode="auto">
          <a:xfrm>
            <a:off x="9032875" y="2065338"/>
            <a:ext cx="3222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E9AD73D-5000-4AA7-BDAA-8310871DACEB}" type="datetime'''3''''0''''''''''''''''''''''2'''''">
              <a:rPr lang="en-US" sz="1400">
                <a:solidFill>
                  <a:schemeClr val="tx1"/>
                </a:solidFill>
              </a:rPr>
              <a:pPr/>
              <a:t>302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68" name="Rectangle 27"/>
          <p:cNvSpPr/>
          <p:nvPr>
            <p:custDataLst>
              <p:tags r:id="rId75"/>
            </p:custDataLst>
          </p:nvPr>
        </p:nvSpPr>
        <p:spPr bwMode="gray">
          <a:xfrm>
            <a:off x="9056688" y="3151188"/>
            <a:ext cx="2746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D1F90B3-1F78-4E14-90B2-C8090258CB31}" type="datetime'''''1''''''''''''2''''''''''''''8'''''''''''''''''''">
              <a:rPr lang="en-US" sz="1200">
                <a:solidFill>
                  <a:schemeClr val="bg1"/>
                </a:solidFill>
              </a:rPr>
              <a:pPr/>
              <a:t>128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69" name="Rectangle 26"/>
          <p:cNvSpPr/>
          <p:nvPr>
            <p:custDataLst>
              <p:tags r:id="rId76"/>
            </p:custDataLst>
          </p:nvPr>
        </p:nvSpPr>
        <p:spPr bwMode="gray">
          <a:xfrm>
            <a:off x="9056688" y="2555875"/>
            <a:ext cx="2746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74BD96C-C30B-4480-AC66-A4F67934E623}" type="datetime'''''''''''17''''''''''''''''''''''''''''4'''''''">
              <a:rPr lang="en-US" sz="1200">
                <a:solidFill>
                  <a:schemeClr val="bg1"/>
                </a:solidFill>
              </a:rPr>
              <a:pPr/>
              <a:t>174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70" name="Rectangle 20"/>
          <p:cNvSpPr/>
          <p:nvPr>
            <p:custDataLst>
              <p:tags r:id="rId77"/>
            </p:custDataLst>
          </p:nvPr>
        </p:nvSpPr>
        <p:spPr bwMode="auto">
          <a:xfrm>
            <a:off x="8505825" y="3595688"/>
            <a:ext cx="3746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8A04A97-CE16-4333-87A2-A380A201F135}" type="datetime'2''''''''''''''''''0''''''''1''''''''''''''7'''''''''''''''">
              <a:rPr lang="en-US" sz="1400">
                <a:solidFill>
                  <a:schemeClr val="tx1"/>
                </a:solidFill>
              </a:rPr>
              <a:pPr/>
              <a:t>2017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71" name="Rectangle 13"/>
          <p:cNvSpPr/>
          <p:nvPr>
            <p:custDataLst>
              <p:tags r:id="rId78"/>
            </p:custDataLst>
          </p:nvPr>
        </p:nvSpPr>
        <p:spPr bwMode="auto">
          <a:xfrm>
            <a:off x="8532813" y="2274888"/>
            <a:ext cx="3222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32A2CF2-E199-4E53-9F45-CCEAD3D97A63}" type="datetime'''''''''''''''''''''''''''2''''''4''''8'''''''''''''''">
              <a:rPr lang="en-US" sz="1400">
                <a:solidFill>
                  <a:schemeClr val="tx1"/>
                </a:solidFill>
              </a:rPr>
              <a:pPr/>
              <a:t>248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72" name="Rectangle 18"/>
          <p:cNvSpPr/>
          <p:nvPr>
            <p:custDataLst>
              <p:tags r:id="rId79"/>
            </p:custDataLst>
          </p:nvPr>
        </p:nvSpPr>
        <p:spPr bwMode="gray">
          <a:xfrm>
            <a:off x="8556625" y="3141663"/>
            <a:ext cx="2746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E391539-28AA-4515-814E-AA5AA62BE26F}" type="datetime'''''13''''''''''''''''''''''''''''''''''''''''''2'''''''''''">
              <a:rPr lang="en-US" sz="1200">
                <a:solidFill>
                  <a:schemeClr val="bg1"/>
                </a:solidFill>
              </a:rPr>
              <a:pPr/>
              <a:t>132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73" name="Rectangle 21"/>
          <p:cNvSpPr/>
          <p:nvPr>
            <p:custDataLst>
              <p:tags r:id="rId80"/>
            </p:custDataLst>
          </p:nvPr>
        </p:nvSpPr>
        <p:spPr bwMode="gray">
          <a:xfrm>
            <a:off x="8556625" y="2651125"/>
            <a:ext cx="2746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F05C44E-1B80-426E-8A6D-CBA034F93F9B}" type="datetime'''''''''''''''''1''''''''''16'''''''''''''''''''''''">
              <a:rPr lang="en-US" sz="1200">
                <a:solidFill>
                  <a:schemeClr val="bg1"/>
                </a:solidFill>
              </a:rPr>
              <a:pPr/>
              <a:t>116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74" name="Rectangle 19"/>
          <p:cNvSpPr/>
          <p:nvPr>
            <p:custDataLst>
              <p:tags r:id="rId81"/>
            </p:custDataLst>
          </p:nvPr>
        </p:nvSpPr>
        <p:spPr bwMode="auto">
          <a:xfrm>
            <a:off x="8005763" y="3595688"/>
            <a:ext cx="3746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83CBD55-FF6E-4FEC-B663-698CCF18446F}" type="datetime'''''''''''''2''''''0''''''''''''''''''1''''''6'''''''''">
              <a:rPr lang="en-US" sz="1400">
                <a:solidFill>
                  <a:schemeClr val="tx1"/>
                </a:solidFill>
              </a:rPr>
              <a:pPr/>
              <a:t>2016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75" name="Rectangle 17"/>
          <p:cNvSpPr/>
          <p:nvPr>
            <p:custDataLst>
              <p:tags r:id="rId82"/>
            </p:custDataLst>
          </p:nvPr>
        </p:nvSpPr>
        <p:spPr bwMode="auto">
          <a:xfrm>
            <a:off x="8032750" y="2484438"/>
            <a:ext cx="3222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6078D2C-FB30-4696-8475-0DAA125625C4}" type="datetime'''''1''''''''''''''''''9''''''''''''''''''''''''''7'''''''''''">
              <a:rPr lang="en-US" sz="1400">
                <a:solidFill>
                  <a:schemeClr val="tx1"/>
                </a:solidFill>
              </a:rPr>
              <a:pPr/>
              <a:t>197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76" name="Rectangle 11"/>
          <p:cNvSpPr/>
          <p:nvPr>
            <p:custDataLst>
              <p:tags r:id="rId83"/>
            </p:custDataLst>
          </p:nvPr>
        </p:nvSpPr>
        <p:spPr bwMode="gray">
          <a:xfrm>
            <a:off x="8056563" y="3146425"/>
            <a:ext cx="2746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D24989A-8602-4048-B6C3-1E66C45E4BD6}" type="datetime'''''''''''''''''''''''1''''''''3''''''''''''1'''''''''''''''''">
              <a:rPr lang="en-US" sz="1200">
                <a:solidFill>
                  <a:schemeClr val="bg1"/>
                </a:solidFill>
              </a:rPr>
              <a:pPr/>
              <a:t>131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77" name="Rectangle 15"/>
          <p:cNvSpPr/>
          <p:nvPr>
            <p:custDataLst>
              <p:tags r:id="rId84"/>
            </p:custDataLst>
          </p:nvPr>
        </p:nvSpPr>
        <p:spPr bwMode="gray">
          <a:xfrm>
            <a:off x="8094663" y="2760663"/>
            <a:ext cx="1968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2BFCFB5-9BCB-463E-8651-D46FC63AEFB3}" type="datetime'''''''''6''''''''6'">
              <a:rPr lang="en-US" sz="1200">
                <a:solidFill>
                  <a:schemeClr val="bg1"/>
                </a:solidFill>
              </a:rPr>
              <a:pPr/>
              <a:t>66</a:t>
            </a:fld>
            <a:endParaRPr lang="en-U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78" name="Rectangle 32"/>
          <p:cNvSpPr/>
          <p:nvPr>
            <p:custDataLst>
              <p:tags r:id="rId85"/>
            </p:custDataLst>
          </p:nvPr>
        </p:nvSpPr>
        <p:spPr bwMode="auto">
          <a:xfrm>
            <a:off x="5465763" y="4233863"/>
            <a:ext cx="214313" cy="1603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9" name="Rectangle 33"/>
          <p:cNvSpPr/>
          <p:nvPr>
            <p:custDataLst>
              <p:tags r:id="rId86"/>
            </p:custDataLst>
          </p:nvPr>
        </p:nvSpPr>
        <p:spPr bwMode="auto">
          <a:xfrm>
            <a:off x="5465763" y="4000500"/>
            <a:ext cx="214313" cy="160338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0" name="Rectangle 35"/>
          <p:cNvSpPr/>
          <p:nvPr>
            <p:custDataLst>
              <p:tags r:id="rId87"/>
            </p:custDataLst>
          </p:nvPr>
        </p:nvSpPr>
        <p:spPr bwMode="auto">
          <a:xfrm>
            <a:off x="5730875" y="4229100"/>
            <a:ext cx="16589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C16B081-0815-4128-8782-82BF7FFBCFCE}" type="datetime'''''''Чи''''''''''с''ло о''т''пра''вл''''''енных'' SM''S'''''">
              <a:rPr lang="en-US" sz="1200">
                <a:solidFill>
                  <a:schemeClr val="tx1"/>
                </a:solidFill>
              </a:rPr>
              <a:pPr/>
              <a:t>Число отправленных SMS</a:t>
            </a:fld>
            <a:endParaRPr lang="en-U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81" name="Rectangle 34"/>
          <p:cNvSpPr/>
          <p:nvPr>
            <p:custDataLst>
              <p:tags r:id="rId88"/>
            </p:custDataLst>
          </p:nvPr>
        </p:nvSpPr>
        <p:spPr bwMode="auto">
          <a:xfrm>
            <a:off x="5730875" y="3995738"/>
            <a:ext cx="3711575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14137A6-8226-44FB-A4FA-CEC14208650F}" type="datetime'Сообщения ''OTT с использо''ванием ''мобильных устр''ойст''в'">
              <a:rPr lang="en-US" sz="1200">
                <a:solidFill>
                  <a:schemeClr val="tx1"/>
                </a:solidFill>
              </a:rPr>
              <a:pPr/>
              <a:t>Сообщения OTT с использованием мобильных устройств</a:t>
            </a:fld>
            <a:endParaRPr lang="en-US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25490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7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Calibri"/>
              <a:sym typeface="Calibri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Активные абоненты </a:t>
            </a: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</a:rPr>
              <a:t>МПД, </a:t>
            </a:r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Россия</a:t>
            </a: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</a:rPr>
              <a:t>,</a:t>
            </a:r>
            <a:br>
              <a:rPr lang="ru-RU" sz="2000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</a:rPr>
              <a:t>млн</a:t>
            </a:r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. SIM </a:t>
            </a: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</a:rPr>
              <a:t>карт</a:t>
            </a:r>
            <a:endParaRPr lang="ru-RU" sz="20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/>
        <p:txBody>
          <a:bodyPr>
            <a:normAutofit/>
          </a:bodyPr>
          <a:lstStyle/>
          <a:p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Трафик МПД, Россия, </a:t>
            </a: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</a:rPr>
              <a:t/>
            </a:r>
            <a:br>
              <a:rPr lang="ru-RU" sz="2000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</a:rPr>
              <a:t>ГБ/мес</a:t>
            </a:r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./</a:t>
            </a: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</a:rPr>
              <a:t>устройство</a:t>
            </a:r>
            <a:endParaRPr lang="ru-RU" sz="20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4"/>
            <p:custDataLst>
              <p:tags r:id="rId6"/>
            </p:custDataLst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100" i="1" dirty="0" err="1" smtClean="0">
                <a:solidFill>
                  <a:schemeClr val="bg1"/>
                </a:solidFill>
              </a:rPr>
              <a:t>Источник</a:t>
            </a:r>
            <a:r>
              <a:rPr lang="ru-RU" sz="1100" i="1" dirty="0" smtClean="0">
                <a:solidFill>
                  <a:schemeClr val="bg1"/>
                </a:solidFill>
              </a:rPr>
              <a:t>и</a:t>
            </a:r>
            <a:r>
              <a:rPr lang="en-US" sz="1100" i="1" dirty="0" smtClean="0">
                <a:solidFill>
                  <a:schemeClr val="bg1"/>
                </a:solidFill>
              </a:rPr>
              <a:t>: </a:t>
            </a:r>
            <a:r>
              <a:rPr lang="en-US" sz="1100" i="1" dirty="0" err="1">
                <a:solidFill>
                  <a:schemeClr val="bg1"/>
                </a:solidFill>
              </a:rPr>
              <a:t>J’son</a:t>
            </a:r>
            <a:r>
              <a:rPr lang="en-US" sz="1100" i="1" dirty="0">
                <a:solidFill>
                  <a:schemeClr val="bg1"/>
                </a:solidFill>
              </a:rPr>
              <a:t> &amp; </a:t>
            </a:r>
            <a:r>
              <a:rPr lang="en-US" sz="1100" i="1" dirty="0" smtClean="0">
                <a:solidFill>
                  <a:schemeClr val="bg1"/>
                </a:solidFill>
              </a:rPr>
              <a:t>Partners </a:t>
            </a:r>
            <a:r>
              <a:rPr lang="en-US" sz="1100" i="1" dirty="0">
                <a:solidFill>
                  <a:schemeClr val="bg1"/>
                </a:solidFill>
              </a:rPr>
              <a:t>Consulting, Cisco </a:t>
            </a:r>
            <a:r>
              <a:rPr lang="en-US" sz="1100" i="1" dirty="0" smtClean="0">
                <a:solidFill>
                  <a:schemeClr val="bg1"/>
                </a:solidFill>
              </a:rPr>
              <a:t>Systems</a:t>
            </a:r>
            <a:endParaRPr lang="en-US" sz="1100" i="1" dirty="0">
              <a:solidFill>
                <a:schemeClr val="bg1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/>
        <p:txBody>
          <a:bodyPr/>
          <a:lstStyle/>
          <a:p>
            <a:fld id="{74185DEA-EC0A-466A-86BE-ACF8F0BABD7C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/>
        <p:txBody>
          <a:bodyPr>
            <a:normAutofit/>
          </a:bodyPr>
          <a:lstStyle/>
          <a:p>
            <a:r>
              <a:rPr lang="ru-RU" dirty="0"/>
              <a:t>В ближайшие годы прогнозируется рост трафика и абонентской базы мобильной передачи </a:t>
            </a:r>
            <a:r>
              <a:rPr lang="ru-RU" dirty="0" smtClean="0"/>
              <a:t>данных</a:t>
            </a:r>
            <a:endParaRPr lang="en-US" dirty="0"/>
          </a:p>
        </p:txBody>
      </p:sp>
      <p:sp>
        <p:nvSpPr>
          <p:cNvPr id="9" name="Объект 6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84140" y="5141844"/>
            <a:ext cx="9738588" cy="1359066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rmAutofit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Wingdings" panose="05000000000000000000" pitchFamily="2" charset="2"/>
              <a:buChar char="§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2000" dirty="0"/>
          </a:p>
        </p:txBody>
      </p:sp>
      <p:sp>
        <p:nvSpPr>
          <p:cNvPr id="38" name="Полилиния 10"/>
          <p:cNvSpPr/>
          <p:nvPr>
            <p:custDataLst>
              <p:tags r:id="rId10"/>
            </p:custDataLst>
          </p:nvPr>
        </p:nvSpPr>
        <p:spPr>
          <a:xfrm>
            <a:off x="1839951" y="5360807"/>
            <a:ext cx="6469894" cy="504719"/>
          </a:xfrm>
          <a:custGeom>
            <a:avLst/>
            <a:gdLst>
              <a:gd name="connsiteX0" fmla="*/ 0 w 6469894"/>
              <a:gd name="connsiteY0" fmla="*/ 0 h 504717"/>
              <a:gd name="connsiteX1" fmla="*/ 6217536 w 6469894"/>
              <a:gd name="connsiteY1" fmla="*/ 0 h 504717"/>
              <a:gd name="connsiteX2" fmla="*/ 6469894 w 6469894"/>
              <a:gd name="connsiteY2" fmla="*/ 252359 h 504717"/>
              <a:gd name="connsiteX3" fmla="*/ 6217536 w 6469894"/>
              <a:gd name="connsiteY3" fmla="*/ 504717 h 504717"/>
              <a:gd name="connsiteX4" fmla="*/ 0 w 6469894"/>
              <a:gd name="connsiteY4" fmla="*/ 504717 h 504717"/>
              <a:gd name="connsiteX5" fmla="*/ 0 w 6469894"/>
              <a:gd name="connsiteY5" fmla="*/ 0 h 504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69894" h="504717">
                <a:moveTo>
                  <a:pt x="6469894" y="504716"/>
                </a:moveTo>
                <a:lnTo>
                  <a:pt x="252358" y="504716"/>
                </a:lnTo>
                <a:lnTo>
                  <a:pt x="0" y="252358"/>
                </a:lnTo>
                <a:lnTo>
                  <a:pt x="252358" y="1"/>
                </a:lnTo>
                <a:lnTo>
                  <a:pt x="6469894" y="1"/>
                </a:lnTo>
                <a:lnTo>
                  <a:pt x="6469894" y="504716"/>
                </a:lnTo>
                <a:close/>
              </a:path>
            </a:pathLst>
          </a:custGeom>
          <a:solidFill>
            <a:srgbClr val="EAEAEA"/>
          </a:solidFill>
          <a:ln w="12700">
            <a:noFill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48745" tIns="53341" rIns="99568" bIns="5334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/>
              <a:t>Рост числа активных пользователей и доли устройств, поддерживающих 4G/LTE</a:t>
            </a:r>
          </a:p>
        </p:txBody>
      </p:sp>
      <p:sp>
        <p:nvSpPr>
          <p:cNvPr id="39" name="Полилиния 12"/>
          <p:cNvSpPr/>
          <p:nvPr>
            <p:custDataLst>
              <p:tags r:id="rId11"/>
            </p:custDataLst>
          </p:nvPr>
        </p:nvSpPr>
        <p:spPr>
          <a:xfrm>
            <a:off x="1839951" y="5940904"/>
            <a:ext cx="6469894" cy="504719"/>
          </a:xfrm>
          <a:custGeom>
            <a:avLst/>
            <a:gdLst>
              <a:gd name="connsiteX0" fmla="*/ 0 w 6469894"/>
              <a:gd name="connsiteY0" fmla="*/ 0 h 504717"/>
              <a:gd name="connsiteX1" fmla="*/ 6217536 w 6469894"/>
              <a:gd name="connsiteY1" fmla="*/ 0 h 504717"/>
              <a:gd name="connsiteX2" fmla="*/ 6469894 w 6469894"/>
              <a:gd name="connsiteY2" fmla="*/ 252359 h 504717"/>
              <a:gd name="connsiteX3" fmla="*/ 6217536 w 6469894"/>
              <a:gd name="connsiteY3" fmla="*/ 504717 h 504717"/>
              <a:gd name="connsiteX4" fmla="*/ 0 w 6469894"/>
              <a:gd name="connsiteY4" fmla="*/ 504717 h 504717"/>
              <a:gd name="connsiteX5" fmla="*/ 0 w 6469894"/>
              <a:gd name="connsiteY5" fmla="*/ 0 h 504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69894" h="504717">
                <a:moveTo>
                  <a:pt x="6469894" y="504716"/>
                </a:moveTo>
                <a:lnTo>
                  <a:pt x="252358" y="504716"/>
                </a:lnTo>
                <a:lnTo>
                  <a:pt x="0" y="252358"/>
                </a:lnTo>
                <a:lnTo>
                  <a:pt x="252358" y="1"/>
                </a:lnTo>
                <a:lnTo>
                  <a:pt x="6469894" y="1"/>
                </a:lnTo>
                <a:lnTo>
                  <a:pt x="6469894" y="504716"/>
                </a:lnTo>
                <a:close/>
              </a:path>
            </a:pathLst>
          </a:custGeom>
          <a:solidFill>
            <a:srgbClr val="EAEAEA"/>
          </a:solidFill>
          <a:ln w="12700">
            <a:noFill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48745" tIns="53341" rIns="99568" bIns="53341" numCol="1" spcCol="1270" anchor="ctr" anchorCtr="0">
            <a:noAutofit/>
          </a:bodyPr>
          <a:lstStyle/>
          <a:p>
            <a:pPr lvl="0" algn="ctr" defTabSz="6223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kern="1200" dirty="0" smtClean="0"/>
              <a:t>Рост средних скоростей и как следствие просмотра видео</a:t>
            </a:r>
            <a:endParaRPr lang="en-US" sz="1400" kern="1200" dirty="0"/>
          </a:p>
        </p:txBody>
      </p:sp>
      <p:grpSp>
        <p:nvGrpSpPr>
          <p:cNvPr id="40" name="Группа 17"/>
          <p:cNvGrpSpPr/>
          <p:nvPr>
            <p:custDataLst>
              <p:tags r:id="rId12"/>
            </p:custDataLst>
          </p:nvPr>
        </p:nvGrpSpPr>
        <p:grpSpPr>
          <a:xfrm>
            <a:off x="1587592" y="5360808"/>
            <a:ext cx="504717" cy="504717"/>
            <a:chOff x="1587592" y="5456058"/>
            <a:chExt cx="504717" cy="504717"/>
          </a:xfrm>
        </p:grpSpPr>
        <p:sp>
          <p:nvSpPr>
            <p:cNvPr id="41" name="Овал 11"/>
            <p:cNvSpPr/>
            <p:nvPr/>
          </p:nvSpPr>
          <p:spPr>
            <a:xfrm>
              <a:off x="1587592" y="5456058"/>
              <a:ext cx="504717" cy="504717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1678947" y="5507230"/>
              <a:ext cx="31451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000" dirty="0" smtClean="0">
                  <a:solidFill>
                    <a:schemeClr val="bg1"/>
                  </a:solidFill>
                </a:rPr>
                <a:t>1</a:t>
              </a:r>
              <a:endParaRPr lang="en-US" sz="2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3" name="Группа 18"/>
          <p:cNvGrpSpPr/>
          <p:nvPr>
            <p:custDataLst>
              <p:tags r:id="rId13"/>
            </p:custDataLst>
          </p:nvPr>
        </p:nvGrpSpPr>
        <p:grpSpPr>
          <a:xfrm>
            <a:off x="1587592" y="5940905"/>
            <a:ext cx="504717" cy="504717"/>
            <a:chOff x="1587592" y="6036155"/>
            <a:chExt cx="504717" cy="504717"/>
          </a:xfrm>
        </p:grpSpPr>
        <p:sp>
          <p:nvSpPr>
            <p:cNvPr id="44" name="Овал 13"/>
            <p:cNvSpPr/>
            <p:nvPr/>
          </p:nvSpPr>
          <p:spPr>
            <a:xfrm>
              <a:off x="1587592" y="6036155"/>
              <a:ext cx="504717" cy="504717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1678947" y="6084658"/>
              <a:ext cx="31451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000" dirty="0">
                  <a:solidFill>
                    <a:schemeClr val="bg1"/>
                  </a:solidFill>
                </a:rPr>
                <a:t>2</a:t>
              </a:r>
              <a:endParaRPr lang="en-US" sz="2000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46" name="Object 11"/>
          <p:cNvGraphicFramePr>
            <a:graphicFrameLocks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86014671"/>
              </p:ext>
            </p:extLst>
          </p:nvPr>
        </p:nvGraphicFramePr>
        <p:xfrm>
          <a:off x="271463" y="1963738"/>
          <a:ext cx="4495823" cy="29338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8" name="Chart" r:id="rId38" imgW="4495823" imgH="2933820" progId="MSGraph.Chart.8">
                  <p:embed followColorScheme="full"/>
                </p:oleObj>
              </mc:Choice>
              <mc:Fallback>
                <p:oleObj name="Chart" r:id="rId38" imgW="4495823" imgH="29338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271463" y="1963738"/>
                        <a:ext cx="4495823" cy="29338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14"/>
          <p:cNvSpPr/>
          <p:nvPr>
            <p:custDataLst>
              <p:tags r:id="rId15"/>
            </p:custDataLst>
          </p:nvPr>
        </p:nvSpPr>
        <p:spPr bwMode="auto">
          <a:xfrm>
            <a:off x="2327275" y="484663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1658BF4-A7E3-4001-9A40-99BF6133548F}" type="datetime'''''''''''''''''''''2''''0''''''1''''''''''7'''''''''''''''''">
              <a:rPr lang="en-US" sz="1400">
                <a:solidFill>
                  <a:schemeClr val="tx1"/>
                </a:solidFill>
              </a:rPr>
              <a:pPr/>
              <a:t>2017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8" name="Rectangle 13"/>
          <p:cNvSpPr/>
          <p:nvPr>
            <p:custDataLst>
              <p:tags r:id="rId16"/>
            </p:custDataLst>
          </p:nvPr>
        </p:nvSpPr>
        <p:spPr bwMode="auto">
          <a:xfrm>
            <a:off x="3189288" y="484663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2B6F03E-35FF-44C8-8705-4D5FF28EF710}" type="datetime'''''2''''0''''''''''''''''''''''''''''''''''''''''1''''''''8'">
              <a:rPr lang="en-US" sz="1400">
                <a:solidFill>
                  <a:schemeClr val="tx1"/>
                </a:solidFill>
              </a:rPr>
              <a:pPr/>
              <a:t>2018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9" name="Rectangle 12"/>
          <p:cNvSpPr/>
          <p:nvPr>
            <p:custDataLst>
              <p:tags r:id="rId17"/>
            </p:custDataLst>
          </p:nvPr>
        </p:nvSpPr>
        <p:spPr bwMode="auto">
          <a:xfrm>
            <a:off x="4046538" y="484663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EFF998C-97A5-4ED5-BC9A-70F2B7604BAB}" type="datetime'''''2''''''0''''1''''''''''''''''''''''''''''''''''''9'''''">
              <a:rPr lang="en-US" sz="1400">
                <a:solidFill>
                  <a:schemeClr val="tx1"/>
                </a:solidFill>
              </a:rPr>
              <a:pPr/>
              <a:t>2019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0" name="Rectangle 15"/>
          <p:cNvSpPr/>
          <p:nvPr>
            <p:custDataLst>
              <p:tags r:id="rId18"/>
            </p:custDataLst>
          </p:nvPr>
        </p:nvSpPr>
        <p:spPr bwMode="auto">
          <a:xfrm>
            <a:off x="1465263" y="484663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7BD419E-51D9-43CE-96F4-514576C5DD7F}" type="datetime'''''''''''''''''''''''''''2''''01''''''''''''''''6'''">
              <a:rPr lang="en-US" sz="1400">
                <a:solidFill>
                  <a:schemeClr val="tx1"/>
                </a:solidFill>
              </a:rPr>
              <a:pPr/>
              <a:t>2016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1" name="Rectangle 16"/>
          <p:cNvSpPr/>
          <p:nvPr>
            <p:custDataLst>
              <p:tags r:id="rId19"/>
            </p:custDataLst>
          </p:nvPr>
        </p:nvSpPr>
        <p:spPr bwMode="auto">
          <a:xfrm>
            <a:off x="608013" y="484663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B7E3CBE-EE05-4651-937E-8D90D50111C7}" type="datetime'''''''''''''''''''''2''''0''''''''''''''''''''''''''15'''''''">
              <a:rPr lang="en-US" sz="1400">
                <a:solidFill>
                  <a:schemeClr val="tx1"/>
                </a:solidFill>
              </a:rPr>
              <a:pPr/>
              <a:t>2015</a:t>
            </a:fld>
            <a:endParaRPr lang="en-US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graphicFrame>
        <p:nvGraphicFramePr>
          <p:cNvPr id="52" name="Object 18"/>
          <p:cNvGraphicFramePr>
            <a:graphicFrameLocks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991803045"/>
              </p:ext>
            </p:extLst>
          </p:nvPr>
        </p:nvGraphicFramePr>
        <p:xfrm>
          <a:off x="5194300" y="2252663"/>
          <a:ext cx="4391011" cy="26478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9" name="Chart" r:id="rId40" imgW="4391011" imgH="2647890" progId="MSGraph.Chart.8">
                  <p:embed followColorScheme="full"/>
                </p:oleObj>
              </mc:Choice>
              <mc:Fallback>
                <p:oleObj name="Chart" r:id="rId40" imgW="4391011" imgH="264789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5194300" y="2252663"/>
                        <a:ext cx="4391011" cy="2647890"/>
                      </a:xfrm>
                      <a:prstGeom prst="rect">
                        <a:avLst/>
                      </a:prstGeom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Rectangle 29"/>
          <p:cNvSpPr/>
          <p:nvPr>
            <p:custDataLst>
              <p:tags r:id="rId21"/>
            </p:custDataLst>
          </p:nvPr>
        </p:nvSpPr>
        <p:spPr bwMode="auto">
          <a:xfrm>
            <a:off x="8993188" y="484028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14DA4FD-AA3D-4D49-BBC6-F14A480D5665}" type="datetime'''''''''''''''2''''''''0''2''''''''''0'''''''''''''">
              <a:rPr lang="en-US" sz="1400">
                <a:solidFill>
                  <a:schemeClr val="tx1"/>
                </a:solidFill>
              </a:rPr>
              <a:pPr/>
              <a:t>2020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4" name="Rectangle 32"/>
          <p:cNvSpPr/>
          <p:nvPr>
            <p:custDataLst>
              <p:tags r:id="rId22"/>
            </p:custDataLst>
          </p:nvPr>
        </p:nvSpPr>
        <p:spPr bwMode="auto">
          <a:xfrm>
            <a:off x="9042400" y="2109788"/>
            <a:ext cx="27781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B4FE098-545E-4D22-BE1E-4605DF25096F}" type="datetime'''''''''''''7'''''''',''''''''''''''''3'''''''''''''''''''''">
              <a:rPr lang="en-US" sz="1400" b="1">
                <a:solidFill>
                  <a:schemeClr val="tx1"/>
                </a:solidFill>
              </a:rPr>
              <a:pPr/>
              <a:t>7,3</a:t>
            </a:fld>
            <a:endParaRPr lang="en-US" sz="14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5" name="Rectangle 27"/>
          <p:cNvSpPr/>
          <p:nvPr>
            <p:custDataLst>
              <p:tags r:id="rId23"/>
            </p:custDataLst>
          </p:nvPr>
        </p:nvSpPr>
        <p:spPr bwMode="auto">
          <a:xfrm>
            <a:off x="8393113" y="484028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763869A-D381-4609-9545-797F1B000D8A}" type="datetime'''''''''''''''''2''''''''''''0''''''''1''''9'''''''''''''''">
              <a:rPr lang="en-US" sz="1400">
                <a:solidFill>
                  <a:schemeClr val="tx1"/>
                </a:solidFill>
              </a:rPr>
              <a:pPr/>
              <a:t>2019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6" name="Rectangle 24"/>
          <p:cNvSpPr/>
          <p:nvPr>
            <p:custDataLst>
              <p:tags r:id="rId24"/>
            </p:custDataLst>
          </p:nvPr>
        </p:nvSpPr>
        <p:spPr bwMode="auto">
          <a:xfrm>
            <a:off x="8442325" y="2909888"/>
            <a:ext cx="27781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3D73975-458C-45B3-A1BB-5E23B09D0DAD}" type="datetime'''''''''''''''''4'''''''',''''''''8'''''">
              <a:rPr lang="en-US" sz="1400" b="1">
                <a:solidFill>
                  <a:schemeClr val="tx1"/>
                </a:solidFill>
              </a:rPr>
              <a:pPr/>
              <a:t>4,8</a:t>
            </a:fld>
            <a:endParaRPr lang="en-US" sz="14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7" name="Rectangle 20"/>
          <p:cNvSpPr/>
          <p:nvPr>
            <p:custDataLst>
              <p:tags r:id="rId25"/>
            </p:custDataLst>
          </p:nvPr>
        </p:nvSpPr>
        <p:spPr bwMode="auto">
          <a:xfrm>
            <a:off x="7793038" y="484028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FB970A8-D445-4D4C-B2B6-C3571AE5BDA4}" type="datetime'''''''''''''''2''''''0''''1''''8'''''''">
              <a:rPr lang="en-US" sz="1400">
                <a:solidFill>
                  <a:schemeClr val="tx1"/>
                </a:solidFill>
              </a:rPr>
              <a:pPr/>
              <a:t>2018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8" name="Rectangle 28"/>
          <p:cNvSpPr/>
          <p:nvPr>
            <p:custDataLst>
              <p:tags r:id="rId26"/>
            </p:custDataLst>
          </p:nvPr>
        </p:nvSpPr>
        <p:spPr bwMode="auto">
          <a:xfrm>
            <a:off x="7842250" y="3443288"/>
            <a:ext cx="27781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0983C1D-2AFA-4D11-BD69-44B669F67928}" type="datetime'''''''''3'''''''''''''''''''',''''''''''''2'''''">
              <a:rPr lang="en-US" sz="1400" b="1">
                <a:solidFill>
                  <a:schemeClr val="tx1"/>
                </a:solidFill>
              </a:rPr>
              <a:pPr/>
              <a:t>3,2</a:t>
            </a:fld>
            <a:endParaRPr lang="en-US" sz="14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9" name="Rectangle 25"/>
          <p:cNvSpPr/>
          <p:nvPr>
            <p:custDataLst>
              <p:tags r:id="rId27"/>
            </p:custDataLst>
          </p:nvPr>
        </p:nvSpPr>
        <p:spPr bwMode="auto">
          <a:xfrm>
            <a:off x="7197725" y="484028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FAD3E88-1753-42AC-8242-0BFE22002F1D}" type="datetime'''2''''''''''''''''''0''1''''''''''7'''''''">
              <a:rPr lang="en-US" sz="1400">
                <a:solidFill>
                  <a:schemeClr val="tx1"/>
                </a:solidFill>
              </a:rPr>
              <a:pPr/>
              <a:t>2017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0" name="Rectangle 26"/>
          <p:cNvSpPr/>
          <p:nvPr>
            <p:custDataLst>
              <p:tags r:id="rId28"/>
            </p:custDataLst>
          </p:nvPr>
        </p:nvSpPr>
        <p:spPr bwMode="auto">
          <a:xfrm>
            <a:off x="7246938" y="3795713"/>
            <a:ext cx="27781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C3F305D-A3CA-4343-BF20-AB5644C76739}" type="datetime'''''''''''''''''''2'''''''''',''''''''''''''''1'''''''''''''''">
              <a:rPr lang="en-US" sz="1400" b="1">
                <a:solidFill>
                  <a:schemeClr val="tx1"/>
                </a:solidFill>
              </a:rPr>
              <a:pPr/>
              <a:t>2,1</a:t>
            </a:fld>
            <a:endParaRPr lang="en-US" sz="14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1" name="Rectangle 22"/>
          <p:cNvSpPr/>
          <p:nvPr>
            <p:custDataLst>
              <p:tags r:id="rId29"/>
            </p:custDataLst>
          </p:nvPr>
        </p:nvSpPr>
        <p:spPr bwMode="auto">
          <a:xfrm>
            <a:off x="6602413" y="484028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5F9B3AF-A465-44AF-84ED-E8D994D02FF4}" type="datetime'2''''''''0''1''''''''''''''''''''6'''''''''">
              <a:rPr lang="en-US" sz="1400">
                <a:solidFill>
                  <a:schemeClr val="tx1"/>
                </a:solidFill>
              </a:rPr>
              <a:pPr/>
              <a:t>2016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2" name="Rectangle 19"/>
          <p:cNvSpPr/>
          <p:nvPr>
            <p:custDataLst>
              <p:tags r:id="rId30"/>
            </p:custDataLst>
          </p:nvPr>
        </p:nvSpPr>
        <p:spPr bwMode="auto">
          <a:xfrm>
            <a:off x="6651625" y="4033838"/>
            <a:ext cx="27781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6755CF1-711F-4E44-AC8C-F3D8FCE6D771}" type="datetime'''''''''''''1,''''''''''''''''''''''4'''''''''''''''''''''''">
              <a:rPr lang="en-US" sz="1400" b="1">
                <a:solidFill>
                  <a:schemeClr val="tx1"/>
                </a:solidFill>
              </a:rPr>
              <a:pPr/>
              <a:t>1,4</a:t>
            </a:fld>
            <a:endParaRPr lang="en-US" sz="14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3" name="Rectangle 31"/>
          <p:cNvSpPr/>
          <p:nvPr>
            <p:custDataLst>
              <p:tags r:id="rId31"/>
            </p:custDataLst>
          </p:nvPr>
        </p:nvSpPr>
        <p:spPr bwMode="auto">
          <a:xfrm>
            <a:off x="6002338" y="484028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5BEE3AF-7429-4DCB-8EC8-1A3C613B7185}" type="datetime'''''''''2''''''''''''''''''''''''''''''''0''1''''''5'''''''''">
              <a:rPr lang="en-US" sz="1400">
                <a:solidFill>
                  <a:schemeClr val="tx1"/>
                </a:solidFill>
              </a:rPr>
              <a:pPr/>
              <a:t>2015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4" name="Rectangle 21"/>
          <p:cNvSpPr/>
          <p:nvPr>
            <p:custDataLst>
              <p:tags r:id="rId32"/>
            </p:custDataLst>
          </p:nvPr>
        </p:nvSpPr>
        <p:spPr bwMode="auto">
          <a:xfrm>
            <a:off x="6051550" y="4186238"/>
            <a:ext cx="27781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2709FAA-B5DF-4F16-948B-D514C943F0D0}" type="datetime'''''''''''''''''0'''''''''''''''''''''''''''''''''''''''',9'''">
              <a:rPr lang="en-US" sz="1400" b="1">
                <a:solidFill>
                  <a:schemeClr val="tx1"/>
                </a:solidFill>
              </a:rPr>
              <a:pPr/>
              <a:t>0,9</a:t>
            </a:fld>
            <a:endParaRPr lang="en-US" sz="14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5" name="Rectangle 30"/>
          <p:cNvSpPr/>
          <p:nvPr>
            <p:custDataLst>
              <p:tags r:id="rId33"/>
            </p:custDataLst>
          </p:nvPr>
        </p:nvSpPr>
        <p:spPr bwMode="auto">
          <a:xfrm>
            <a:off x="5402263" y="4840288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87F8D7C-E4B6-4F9E-8DDF-02F7C47E60DA}" type="datetime'2''0''''''''''1''''''''''''''''''4'">
              <a:rPr lang="en-US" sz="1400">
                <a:solidFill>
                  <a:schemeClr val="tx1"/>
                </a:solidFill>
              </a:rPr>
              <a:pPr/>
              <a:t>2014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6" name="Rectangle 23"/>
          <p:cNvSpPr/>
          <p:nvPr>
            <p:custDataLst>
              <p:tags r:id="rId34"/>
            </p:custDataLst>
          </p:nvPr>
        </p:nvSpPr>
        <p:spPr bwMode="auto">
          <a:xfrm>
            <a:off x="5451475" y="4300538"/>
            <a:ext cx="27781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D11C1D7-6EC6-424C-BC13-3AFF0260451B}" type="datetime'''''''''''''''''''''''''''''''''0'',''''''''6'''''''">
              <a:rPr lang="en-US" sz="1400" b="1">
                <a:solidFill>
                  <a:schemeClr val="tx1"/>
                </a:solidFill>
              </a:rPr>
              <a:pPr/>
              <a:t>0,6</a:t>
            </a:fld>
            <a:endParaRPr lang="en-US" sz="14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67334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абор </a:t>
            </a:r>
            <a:r>
              <a:rPr lang="ru-RU" dirty="0" smtClean="0"/>
              <a:t>абонентов и </a:t>
            </a:r>
            <a:r>
              <a:rPr lang="ru-RU" dirty="0"/>
              <a:t>увеличение ARPDU за счет стимуляции активного пользования ускорит рост доходов от МПД 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endParaRPr lang="en-US" sz="1100" i="1" dirty="0">
              <a:solidFill>
                <a:schemeClr val="bg1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185DEA-EC0A-466A-86BE-ACF8F0BABD7C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440879" y="3992579"/>
            <a:ext cx="2030717" cy="165485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7150" tIns="57150" rIns="57150" bIns="57150" numCol="1" spcCol="1270" anchor="ctr" anchorCtr="0">
            <a:noAutofit/>
          </a:bodyPr>
          <a:lstStyle/>
          <a:p>
            <a:pPr lvl="0" algn="ctr" defTabSz="66675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kern="1200" dirty="0" smtClean="0"/>
              <a:t>Улучшение опций для смартфонов</a:t>
            </a:r>
            <a:endParaRPr lang="en-US" sz="2000" kern="1200" dirty="0"/>
          </a:p>
        </p:txBody>
      </p:sp>
      <p:sp>
        <p:nvSpPr>
          <p:cNvPr id="16" name="Rectangle 15"/>
          <p:cNvSpPr/>
          <p:nvPr/>
        </p:nvSpPr>
        <p:spPr>
          <a:xfrm>
            <a:off x="440879" y="2000816"/>
            <a:ext cx="2030717" cy="164773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7150" tIns="57150" rIns="57150" bIns="57150" numCol="1" spcCol="1270" anchor="ctr" anchorCtr="0">
            <a:noAutofit/>
          </a:bodyPr>
          <a:lstStyle/>
          <a:p>
            <a:pPr lvl="0" algn="ctr" defTabSz="66675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kern="1200" dirty="0" smtClean="0"/>
              <a:t>Регулярное увеличение размера пакетов</a:t>
            </a:r>
            <a:endParaRPr lang="en-US" sz="2000" kern="1200" dirty="0"/>
          </a:p>
        </p:txBody>
      </p:sp>
      <p:sp>
        <p:nvSpPr>
          <p:cNvPr id="20" name="TextBox 19"/>
          <p:cNvSpPr txBox="1"/>
          <p:nvPr/>
        </p:nvSpPr>
        <p:spPr>
          <a:xfrm>
            <a:off x="5767056" y="1417812"/>
            <a:ext cx="360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очему необходимо</a:t>
            </a:r>
            <a:endParaRPr lang="en-US" dirty="0"/>
          </a:p>
        </p:txBody>
      </p:sp>
      <p:cxnSp>
        <p:nvCxnSpPr>
          <p:cNvPr id="22" name="Straight Connector 21"/>
          <p:cNvCxnSpPr/>
          <p:nvPr/>
        </p:nvCxnSpPr>
        <p:spPr>
          <a:xfrm flipV="1">
            <a:off x="5767056" y="1787144"/>
            <a:ext cx="360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2616461" y="1417812"/>
            <a:ext cx="288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Описание</a:t>
            </a:r>
            <a:endParaRPr lang="en-US" dirty="0"/>
          </a:p>
        </p:txBody>
      </p:sp>
      <p:cxnSp>
        <p:nvCxnSpPr>
          <p:cNvPr id="24" name="Straight Connector 23"/>
          <p:cNvCxnSpPr/>
          <p:nvPr/>
        </p:nvCxnSpPr>
        <p:spPr>
          <a:xfrm flipV="1">
            <a:off x="2616461" y="1787144"/>
            <a:ext cx="288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ontent Placeholder 12"/>
          <p:cNvSpPr>
            <a:spLocks noGrp="1"/>
          </p:cNvSpPr>
          <p:nvPr>
            <p:ph sz="half" idx="1"/>
          </p:nvPr>
        </p:nvSpPr>
        <p:spPr>
          <a:xfrm>
            <a:off x="2616461" y="1993692"/>
            <a:ext cx="2880000" cy="1654856"/>
          </a:xfrm>
        </p:spPr>
        <p:txBody>
          <a:bodyPr>
            <a:normAutofit/>
          </a:bodyPr>
          <a:lstStyle/>
          <a:p>
            <a:pPr marL="266700" indent="-26670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800" dirty="0"/>
              <a:t>Ежеквартальный или ежегодный пересмотр размеров пакетов </a:t>
            </a:r>
            <a:r>
              <a:rPr lang="ru-RU" sz="1800" dirty="0" smtClean="0"/>
              <a:t>трафика</a:t>
            </a:r>
            <a:endParaRPr lang="ru-RU" sz="1800" dirty="0"/>
          </a:p>
        </p:txBody>
      </p:sp>
      <p:sp>
        <p:nvSpPr>
          <p:cNvPr id="27" name="Content Placeholder 12"/>
          <p:cNvSpPr txBox="1">
            <a:spLocks/>
          </p:cNvSpPr>
          <p:nvPr/>
        </p:nvSpPr>
        <p:spPr>
          <a:xfrm>
            <a:off x="5767056" y="1993692"/>
            <a:ext cx="3600000" cy="165485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Wingdings" panose="05000000000000000000" pitchFamily="2" charset="2"/>
              <a:buChar char="§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800" dirty="0"/>
              <a:t>Рост средних скоростей и потребления трафика не должен влиять на расходы пользователей</a:t>
            </a:r>
          </a:p>
          <a:p>
            <a:pPr marL="266700" indent="-26670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800" dirty="0"/>
              <a:t>Предоставит конкурентное преимущество</a:t>
            </a:r>
            <a:endParaRPr lang="en-US" sz="1800" dirty="0"/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ü"/>
            </a:pPr>
            <a:endParaRPr lang="en-US" sz="1800" dirty="0"/>
          </a:p>
        </p:txBody>
      </p:sp>
      <p:sp>
        <p:nvSpPr>
          <p:cNvPr id="28" name="Content Placeholder 12"/>
          <p:cNvSpPr txBox="1">
            <a:spLocks/>
          </p:cNvSpPr>
          <p:nvPr/>
        </p:nvSpPr>
        <p:spPr>
          <a:xfrm>
            <a:off x="2616461" y="3992579"/>
            <a:ext cx="2880000" cy="16548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Wingdings" panose="05000000000000000000" pitchFamily="2" charset="2"/>
              <a:buChar char="§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800" dirty="0"/>
              <a:t>Тарифные опции для смартфона должны быть аналогичны опциям для </a:t>
            </a:r>
            <a:r>
              <a:rPr lang="ru-RU" sz="1800" dirty="0" smtClean="0"/>
              <a:t>планшетов</a:t>
            </a:r>
            <a:endParaRPr lang="en-US" sz="1800" dirty="0"/>
          </a:p>
        </p:txBody>
      </p:sp>
      <p:sp>
        <p:nvSpPr>
          <p:cNvPr id="29" name="Content Placeholder 12"/>
          <p:cNvSpPr txBox="1">
            <a:spLocks/>
          </p:cNvSpPr>
          <p:nvPr/>
        </p:nvSpPr>
        <p:spPr>
          <a:xfrm>
            <a:off x="5767056" y="3992579"/>
            <a:ext cx="3600000" cy="16548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Wingdings" panose="05000000000000000000" pitchFamily="2" charset="2"/>
              <a:buChar char="§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" panose="05000000000000000000" pitchFamily="2" charset="2"/>
              <a:buChar char="§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800" dirty="0"/>
              <a:t>Граница между смартфонами и планшетами стирается</a:t>
            </a:r>
          </a:p>
          <a:p>
            <a:pPr marL="266700" indent="-26670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800" dirty="0"/>
              <a:t>Позволит увеличить активность текущих и привлечь новых </a:t>
            </a:r>
            <a:r>
              <a:rPr lang="ru-RU" sz="1800" dirty="0" smtClean="0"/>
              <a:t>абонентов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614597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x2LPKz7UC1DbLkMrt9U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saLHgDbECjfIDVsRf7H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z63W4IFEuKM3eeYbhkb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S0VSiHM0aBHZHklIoCj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y4DQC7xEiDIKnaJSAY5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qvaeoeuEWRO1D5LIi.B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zwcthU_0mKy7iKAXXIt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ZdxENMWkaVQDaHMJwFE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z16uWq_EGUBzpTmMSkr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fOTCRNxUOzBoH.7HHko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ahbPjp0EqyewG_hTRD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Rdwe.pSUmD3wFF3PI4y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GDoSm45E2fWqAlAZbxW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yxIYys60KgLPK8g7KCi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UgGe5X10WJQl.4dANBO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8saFELWEqIB7bUd5X1Z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ZXnVx4.kmv66itsCXSF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WjuK5tYU2xcugY5xsLc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dOpPr5jk6oE3iNoqKx1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Nfj3Krp0CjOpCp40f2F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fcWzCyiEG8EvTUlB6F9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xhyms5c0eNXttvlJxo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6ZUEUfmkCfk8oXdHDLw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6sXmD.hEyPAxDEwPaXP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E1BtH2nkys0Z33g7Udb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089P.6MkOIAKaB1M.1d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0jsp1qn0GQw45BFbq91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1Duf4GFEq2UgXn8mePm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2W_T4krkql5hu.a.eQ9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JjlZanyE2unhXleRQiE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KYXDFkkEi9YFtRTi6Kj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UkKC6LG0KHlYzusFJhb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UEJpIKbUiMBD5OsWt_9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sA8gfhkUalVR12vC6Vs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hj14KM9EOnesmHWOXP2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fpsEtjhEac8offDYA8h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oTQxSl9EuMKsevmnCIK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4S0PDlx0WHEgLSCGIx9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U.wZcjWE6WSVGDfrG3i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DKePPgjkumMdR8FfNaE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Rmk.3WYUq8TpgBIrMuW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MRwbeshES6tsAMxMu0V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ZtFTG6Z0On4_xd_1N9E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AlXmIkJEG9rrMOLWQn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vjlEqD7EOtWjh7By6hd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ac2vse70mSTZprJN8jS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gRexMTXE2v0xi4u6aKl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ThwGPBI0eYk6hkPDCWM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zaVw5cgUW4pu2Luqthn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GvHFi.aUyU91aYxvtlU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Rqt5QI4EaPb_GLjd.1A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9GmccMZkanJJ3E91yzn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E8PR.08UKMy4niUntiY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zM2YOTjkWgo.jJnVUfi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UtzdrxHESkH6fJEJR_m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hKVbcaD0WP7LRAqTbmQ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b9BG0rQ0qI0STud6oQ4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OabRYdw0GuRgv4osxLf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BwpMFz4kSSaoqp5O1Dz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69jqJogU6P0rXB4J2ZR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oL6eoCy02zmt.otONJx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z09CgMgUmUUFQa4FE51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3LiLuuZUe8ugfZ6cD1R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hLCZfm_EiF1Sm5kZ58O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qTgQKOokK95vY.pAbSL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P4THFEnUe_msSue1hF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BvF9L2U0GY1_euo7QbO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mgDjDr3qE2PGQrLM3vHa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Tm.0ZG.E6M6iTpal0Ni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39QDYjjEunlFyBgDwDz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QEtphZgUa4YYDsHpB4a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Ni.cFhMkSRJ5Url92T3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RGQDDoc0KgqMulsRjDH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V8ak_uWka3.6K0TfvXy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X2O8fiYkGGUs_7x7A6B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RGQDDoc0KgqMulsRjDH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ZlmoFmn0u7EATtLpYnL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V8ak_uWka3.6K0TfvXy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X2O8fiYkGGUs_7x7A6B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TNSF7UQ0qY5ynZgJgLE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rBp47KHka2q2vducQ6M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7zH91Mnk.N4dwf6PjBM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a9uuyxqEGoHnnwcauau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u3Po0hcUa6fp4B9WK3j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5DvUjpWEi57qdgj7ri7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yZr6OgLkOhdQNA1q6Mp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SD9OQ71kWaUVDs3uKyd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0eYQHB6UGtWG.AYgHmW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xK1Ic0wkWHdB8dmkrfo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coUBo2cES7mfmsh9age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7ah5bM_0evZ.lH1uH0L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BZY5YQfkKVqP1D_GF6C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Uku_WuGEuKy6ukZv7wn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N7kb6lk0mEGczN3Pcnx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n65ViqrEaQeoq1.T.10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sD2uxXI0ygtuWnYe3Rv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MOy_TXkkWDACclRAEOk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f.5F86mESjD2izv25GB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jnQdg9AUOuXfYXSZsI0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q8pTnJAUKmvJcZMX90t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H6L3MU10W_nHaRLvlte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nclUNMNUedr2nHjBkht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DExktp0kSLZN69GKSFr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lmb3jFTE6mYuF43NTkL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tGhYtlpE.Uv5WTowdgZ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1ZQEFuskSUbixPq_GeP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LwaC0ZnUGeRGFI5QfiO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.wJ4zLvUGf7urczbod2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qfZieL_k6XI.rbTIoi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UEXb5Vo0m5u2l_STWNF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hE_fENkk2suVynjbEl2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XYfwKSaEypkqQrSmcV8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hTuRKpLU2T0LsOkYcfP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O2D9avGEafv9AjCUEsC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Y4uFrDPkC_aVbSdJDFy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oP7Kqk506fsrB7bqYdq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1nmKndmEeO5vGs2Ftn9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4ugr2TkSe2SQVBWOJM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EvAMplCkitLPKWwzBVH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enSgFEnECLPFdwUZHpR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Axkf4t00SMNFcgVEmAo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_LxLzT1E6TxJ7CDv94t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XukWbjQ0mnISn0kE50G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IGyiIGv0uNqvoDyE6JR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UtEFpXq0il3KY5UZRwD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I6HZfRpUKiA6o3_aRTG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uE0e_.j02seKjkIeyP3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h_nezgzUWbNv7H.ttQt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TDsnIN4kSSGoUbIrNKo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0ARPXXI0aHIN0dbAkhb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54Ce4idk6UGZZdDuoNz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emxE9SCEK2RjQkvB3WY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vMMMyvmkC4iLHx3R.fW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ZDgpAWw02U1vta.OVtm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BS3W30eU2ajeVXJQY5X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yF4HZi4E29KrXObkQRu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MSMJaLoUSKMs5niWTlL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kDSPtWhEKNvf8Kw7YaX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vcDwGldUaGKyXxElGn2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KHb.k5OkWsPiVb8sQA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ezO6bxA0.ukevTNjzvJ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29RzSXnUa8ke8bysVdJ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2O2Q8s5EKTuQS961sCT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R3jzD3ZECp_lSaQvk.s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m7zXnY106Pm7RojFvSu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AB5WCFkUqH6ax86p9vL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uvZ0evCkmjz9RR6sNvv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9uNXprN0eXtgqZANu2.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6YDhTne0aoluMlJrfsM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qYZ6b_4kmWaxRa5Q3Yy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je2prwy0KzzMXw_wv1e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H4zHBhr0Sc2gm16glSp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cYtoBoNkSr4wti.i1y5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8HG5FxwkWYDRE.2d27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dNvxbRAEyNLoqyuL0xv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nNyvvLEUiIbuZqGHiTB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z_2gVuVkaYK7_l_tiS2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h.82KEekSj3tSpXe_Gw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E7ovt90kaSha6v4Qn1i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7.4GrPME.XsIlw2Ap93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9rmpTm30yHpTeT.BL5_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J6cy_9VkyiFC.LkFx6Y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.lF8PeGUOeQpWUjJU1P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5WzW3teUipfA93zz76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ZcpXNvsUyYmIG_28_qF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0WUf.i4kesiMr2O.dp0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0mV3g0nEKrH2JFAzv4o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2aOrK.n06f23Foa9UwR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sXopGYRkKWO4kzLxPn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NvhV4nuUC.LOUw0XjEm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hITUu7aUqKs1UdLyZiA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H.SK76TU6rRz1KQN6wS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nUdLCSU0uvXXtQUjheb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UUKNYBUkKDRIhdFT9R1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re3V8UoEChhCJZvNzl2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ajYr5ZJ0aSPT8FZXn7N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D9Zr9OjUmNCZh3nazgC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ss6mw06E65ePcP6ojBG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7YZZhGtUiUAZhFZVkid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kUXiWTjEqOnmXG0FW5G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TlP3eN6UqzkbkbrSxE9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LLeBDxVUut5iSLKQ10K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.If41VoU6H9CIgvOMLp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0n32W2YUWgtMneeEbOO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i4so.uIEWkMluMjFQkx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Xh4EJPuEWtYySr8Ilya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QKkLw7qUOeB0eRPMPz.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1aHepOC0GUikNJsFMi7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E9Z0hRrEGTZmj9VhkUa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vyiYj3gUCJD9UFAPZx1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Jc9oS9WUqCEauprFHbj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p4oYDHBEmwIfhQZ2aHt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JBDtPLqUCroM2f5pH_i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GYExs.ekOEVwMS_AM5v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J07gdjqEK9jc19gSAwf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CQhjuf0EuKlbkpazboL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QQF2..YUufHABL4FHl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Hi_2vmJ0GRD.UQME5C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1bB7rAK0iA8CJeKvulV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gMuZfg4EGVaqNI6y3A_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VYpYbE8EGfSK4fWuxQR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16Eid19UGdaX81FHkRK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dBhNWxO0CKEEiWAmceD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7X1v4cSkSxGK3TGxrp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nc2dNow0qQJl3AYnZKd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P.FfMXRkaB8LWOVwQw1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IMXe5e1ECfmQdcCjMse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3xaNadsUmVnjSLnAQsO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m318e0iUCFJq7tKkZF0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FxKl3aDUWq87y2b4ZdW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lhJzHo7EyuYT3Z6gUOr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739Y6LJUWVCpv7WKPlz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My6qvZSUun.d4UPk5k2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OMvuAcN0S7HVvzvW_v.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8nOiPzBkCTfXrHlaiDS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F45bL4DE2oZ8qvhJ39F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UgG9FwU0Koq.GDdKiRd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e2ZCriPE.lhwJMcQwFh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0fJOyotUyzQmY.apqC2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cmFBnaeUOVKTrOfM0E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zcm4l9F0GLp3aM6.WCj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p7WwX9gEitGY2tUu2Jo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pCx4JMFESo9o7Gp3gwo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XSSOyj2US7VpopD7zR7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JUPMLPwEG3ETccJ5lJi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Kd0Mv3d0ak15Gi2pV1v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uCbY0K6keyp1lpEi64D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2smht69EiLpFfHeqL7L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a1nfodrUi7ErBu2hEQf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GPWM2xrUOLPcMVJ2RSW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wWNg47tUShT5W6Ulfy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rGAVjtSUi1wtlYcLUam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tH5tWXCkCaNwsIJ78DU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doEwkA4U2csOqo7t0pK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i0SbmQMUyLjgXbAAMia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s67RXGi0uX6c.WagmXY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BopWYhzES6cx0_aWTtc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Jg.tVDbEyUCP60B9uuT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HD8z1Sy0.ZDBmnP.xic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m3OQfrGkixB3SgI6CX3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VVaZepsEW_3wSeTQmW4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ny1Dsl2Uqq84aDYaC_X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6HIU4fE0OCecn4hOeEe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mtUSd87kC_WB7y6lu54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.YIvbrKkeANHt6ZwfPL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gS0AjP_kuAxrqGBi42d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yGTBr600uILjF2qjn8T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rQyh0TiEGSN5LuuGwft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6FGgWKy02wzw7KrcIBw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MvyBEsCU2ROCM79Hbrp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M9zYPmAUa7UUj5bfFFh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n_cXfPXUSO4_QisZKB6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GRQjbzK0i5eUteVFxAB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tzxpAE8UaVqVFXoBhwg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O8dI9eQki9stpk59V67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cq1G6Z70GkKVpNSJK08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Eqtm35zkm2fnbwGENKG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JPu1AToEGrCndPi0oR_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ryG5WD5UuT6hbgIrZ3W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TWRUKXYky0CdV7r4Jg7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UU6wmu20yuZWjVtIuwh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gSp2sZZUqMZ2tUvCfa_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EyPwEe102X_IE42gvIW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MaLjZ33EiLjeG9yC8Hw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qMwT3crkqOCpuei3AFX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mG2ZaxvkCQK8G5faZHI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dGE70alkauRgk1kPyv5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PSh3zS3kyNzDK7w2qfl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3L9FJsiUO1PbDch1cqy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ifddz0OUqp2HQeSmJ5Y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OlzdnbPUOHaBhvyKfiE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oByalZMUyhuN9w_nt1w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b.kobhsEudK_MC4kVY8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nzV6Nwg0OWV5jRK6C3P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Xu6W.CSEidUJaaKIkdvw"/>
</p:tagLst>
</file>

<file path=ppt/theme/theme1.xml><?xml version="1.0" encoding="utf-8"?>
<a:theme xmlns:a="http://schemas.openxmlformats.org/drawingml/2006/main" name="Тема Office">
  <a:themeElements>
    <a:clrScheme name="Другая 19">
      <a:dk1>
        <a:sysClr val="windowText" lastClr="000000"/>
      </a:dk1>
      <a:lt1>
        <a:sysClr val="window" lastClr="FFFFFF"/>
      </a:lt1>
      <a:dk2>
        <a:srgbClr val="17406D"/>
      </a:dk2>
      <a:lt2>
        <a:srgbClr val="F2F2F2"/>
      </a:lt2>
      <a:accent1>
        <a:srgbClr val="0F6FC6"/>
      </a:accent1>
      <a:accent2>
        <a:srgbClr val="009DD9"/>
      </a:accent2>
      <a:accent3>
        <a:srgbClr val="4FCEFF"/>
      </a:accent3>
      <a:accent4>
        <a:srgbClr val="B5B5B5"/>
      </a:accent4>
      <a:accent5>
        <a:srgbClr val="0BD0D9"/>
      </a:accent5>
      <a:accent6>
        <a:srgbClr val="3ECCB4"/>
      </a:accent6>
      <a:hlink>
        <a:srgbClr val="F49100"/>
      </a:hlink>
      <a:folHlink>
        <a:srgbClr val="85DFD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89</TotalTime>
  <Words>1932</Words>
  <Application>Microsoft Office PowerPoint</Application>
  <PresentationFormat>Лист A4 (210x297 мм)</PresentationFormat>
  <Paragraphs>801</Paragraphs>
  <Slides>19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9</vt:i4>
      </vt:variant>
    </vt:vector>
  </HeadingPairs>
  <TitlesOfParts>
    <vt:vector size="26" baseType="lpstr">
      <vt:lpstr>Arial</vt:lpstr>
      <vt:lpstr>Calibri</vt:lpstr>
      <vt:lpstr>Times New Roman</vt:lpstr>
      <vt:lpstr>Wingdings</vt:lpstr>
      <vt:lpstr>Тема Office</vt:lpstr>
      <vt:lpstr>Chart</vt:lpstr>
      <vt:lpstr>think-cell Slide</vt:lpstr>
      <vt:lpstr>Сужение рынка мобильной связи: что дальше?</vt:lpstr>
      <vt:lpstr>Рост российского рынка мобильной связи замедляется из-за отрицательной динамики традиционных услуг</vt:lpstr>
      <vt:lpstr>Будущее мобильных операторов лежит в улучшении качества обслуживания и развитии цифровых услуг</vt:lpstr>
      <vt:lpstr>Снижение выручки МегаФона от традиционных услуг компенсировалось ростом доходов от передачи данных</vt:lpstr>
      <vt:lpstr>МегаФону стоит сфокусироваться на быстрорастущих сегментах и удерживать доходы от традиционных услуг ...</vt:lpstr>
      <vt:lpstr>… что позволит увеличить среднегодовой рост доходов от мобильной связи с 6% до 11%</vt:lpstr>
      <vt:lpstr>Для удержания доходов от традиционных услуг необходимо использовать недостатки и особенности OTT приложений</vt:lpstr>
      <vt:lpstr>В ближайшие годы прогнозируется рост трафика и абонентской базы мобильной передачи данных</vt:lpstr>
      <vt:lpstr>Набор абонентов и увеличение ARPDU за счет стимуляции активного пользования ускорит рост доходов от МПД </vt:lpstr>
      <vt:lpstr>Небольшие изменения в продвижении услуг МегаФона позволят увеличить их использование и повысить лояльность абонентов</vt:lpstr>
      <vt:lpstr>ПРИЛОЖЕНИЕ</vt:lpstr>
      <vt:lpstr>Профиль активного пользователя мобильного интернета (Россия, 2014 г.)</vt:lpstr>
      <vt:lpstr>Сравнение приложений</vt:lpstr>
      <vt:lpstr> Сравнение предоставляемых сервисов основных игроков телекоммуникационного рынка в России </vt:lpstr>
      <vt:lpstr>Стоимость федеральных корзин основных конкурентов рынка телекоммуникаций России</vt:lpstr>
      <vt:lpstr>Сравнение отраслевых решений для бизнеса</vt:lpstr>
      <vt:lpstr>Качество связи сотовых операторов в Москве и Санкт-Петербурге</vt:lpstr>
      <vt:lpstr>Сравнение качества связи</vt:lpstr>
      <vt:lpstr> Международные конкуренты 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Elizaveta Nikitina</dc:creator>
  <cp:lastModifiedBy>Elizaveta Nikitina</cp:lastModifiedBy>
  <cp:revision>111</cp:revision>
  <dcterms:created xsi:type="dcterms:W3CDTF">2016-04-05T08:02:54Z</dcterms:created>
  <dcterms:modified xsi:type="dcterms:W3CDTF">2016-04-06T00:33:05Z</dcterms:modified>
</cp:coreProperties>
</file>